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tags/tag13.xml" ContentType="application/vnd.openxmlformats-officedocument.presentationml.tags+xml"/>
  <Override PartName="/ppt/notesSlides/notesSlide15.xml" ContentType="application/vnd.openxmlformats-officedocument.presentationml.notesSlide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tags/tag15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16.xml" ContentType="application/vnd.openxmlformats-officedocument.presentationml.tags+xml"/>
  <Override PartName="/ppt/notesSlides/notesSlide23.xml" ContentType="application/vnd.openxmlformats-officedocument.presentationml.notesSlide+xml"/>
  <Override PartName="/ppt/tags/tag17.xml" ContentType="application/vnd.openxmlformats-officedocument.presentationml.tags+xml"/>
  <Override PartName="/ppt/notesSlides/notesSlide2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4"/>
  </p:sldMasterIdLst>
  <p:notesMasterIdLst>
    <p:notesMasterId r:id="rId29"/>
  </p:notesMasterIdLst>
  <p:sldIdLst>
    <p:sldId id="2147327126" r:id="rId5"/>
    <p:sldId id="581" r:id="rId6"/>
    <p:sldId id="2147327182" r:id="rId7"/>
    <p:sldId id="2147327160" r:id="rId8"/>
    <p:sldId id="2147327146" r:id="rId9"/>
    <p:sldId id="547" r:id="rId10"/>
    <p:sldId id="2147327097" r:id="rId11"/>
    <p:sldId id="2147327161" r:id="rId12"/>
    <p:sldId id="2147327162" r:id="rId13"/>
    <p:sldId id="2147327164" r:id="rId14"/>
    <p:sldId id="2147327163" r:id="rId15"/>
    <p:sldId id="2147327168" r:id="rId16"/>
    <p:sldId id="2147327169" r:id="rId17"/>
    <p:sldId id="2147327183" r:id="rId18"/>
    <p:sldId id="2147327165" r:id="rId19"/>
    <p:sldId id="2147327166" r:id="rId20"/>
    <p:sldId id="2147327167" r:id="rId21"/>
    <p:sldId id="2147327170" r:id="rId22"/>
    <p:sldId id="2147327172" r:id="rId23"/>
    <p:sldId id="2147327173" r:id="rId24"/>
    <p:sldId id="2147327174" r:id="rId25"/>
    <p:sldId id="2147327152" r:id="rId26"/>
    <p:sldId id="2147327156" r:id="rId27"/>
    <p:sldId id="2147327153" r:id="rId28"/>
  </p:sldIdLst>
  <p:sldSz cx="9144000" cy="5143500" type="screen16x9"/>
  <p:notesSz cx="6858000" cy="9144000"/>
  <p:defaultTextStyle>
    <a:defPPr>
      <a:defRPr lang="de-DE"/>
    </a:defPPr>
    <a:lvl1pPr marL="0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892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783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675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566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457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348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240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132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pos="5375" userDrawn="1">
          <p15:clr>
            <a:srgbClr val="A4A3A4"/>
          </p15:clr>
        </p15:guide>
        <p15:guide id="9" pos="4400" userDrawn="1">
          <p15:clr>
            <a:srgbClr val="A4A3A4"/>
          </p15:clr>
        </p15:guide>
        <p15:guide id="11" pos="5671" userDrawn="1">
          <p15:clr>
            <a:srgbClr val="A4A3A4"/>
          </p15:clr>
        </p15:guide>
        <p15:guide id="16" pos="385" userDrawn="1">
          <p15:clr>
            <a:srgbClr val="A4A3A4"/>
          </p15:clr>
        </p15:guide>
        <p15:guide id="17" orient="horz" pos="1158" userDrawn="1">
          <p15:clr>
            <a:srgbClr val="A4A3A4"/>
          </p15:clr>
        </p15:guide>
        <p15:guide id="18" orient="horz" pos="68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DA2"/>
    <a:srgbClr val="000000"/>
    <a:srgbClr val="72ACD1"/>
    <a:srgbClr val="F6E278"/>
    <a:srgbClr val="CD9D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D0BED1E-3949-4033-B45F-26C39A4ADA10}" v="97" dt="2023-03-09T08:15:47.3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9631B5-78F2-41C9-869B-9F39066F8104}" styleName="Mittlere Formatvorlage 3 - 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622" autoAdjust="0"/>
    <p:restoredTop sz="94720"/>
  </p:normalViewPr>
  <p:slideViewPr>
    <p:cSldViewPr snapToGrid="0" snapToObjects="1">
      <p:cViewPr varScale="1">
        <p:scale>
          <a:sx n="145" d="100"/>
          <a:sy n="145" d="100"/>
        </p:scale>
        <p:origin x="184" y="2304"/>
      </p:cViewPr>
      <p:guideLst>
        <p:guide pos="5375"/>
        <p:guide pos="4400"/>
        <p:guide pos="5671"/>
        <p:guide pos="385"/>
        <p:guide orient="horz" pos="1158"/>
        <p:guide orient="horz" pos="6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bel, Dirk" userId="be71dc4c-a1ab-4d0b-926c-9e6c8d0cf5b0" providerId="ADAL" clId="{AD0BED1E-3949-4033-B45F-26C39A4ADA10}"/>
    <pc:docChg chg="custSel delSld modSld sldOrd">
      <pc:chgData name="Hebel, Dirk" userId="be71dc4c-a1ab-4d0b-926c-9e6c8d0cf5b0" providerId="ADAL" clId="{AD0BED1E-3949-4033-B45F-26C39A4ADA10}" dt="2023-03-09T08:16:02.660" v="208"/>
      <pc:docMkLst>
        <pc:docMk/>
      </pc:docMkLst>
      <pc:sldChg chg="modTransition">
        <pc:chgData name="Hebel, Dirk" userId="be71dc4c-a1ab-4d0b-926c-9e6c8d0cf5b0" providerId="ADAL" clId="{AD0BED1E-3949-4033-B45F-26C39A4ADA10}" dt="2023-03-06T16:06:28.698" v="10"/>
        <pc:sldMkLst>
          <pc:docMk/>
          <pc:sldMk cId="2844048779" sldId="536"/>
        </pc:sldMkLst>
      </pc:sldChg>
      <pc:sldChg chg="ord modTransition">
        <pc:chgData name="Hebel, Dirk" userId="be71dc4c-a1ab-4d0b-926c-9e6c8d0cf5b0" providerId="ADAL" clId="{AD0BED1E-3949-4033-B45F-26C39A4ADA10}" dt="2023-03-09T08:12:04" v="22"/>
        <pc:sldMkLst>
          <pc:docMk/>
          <pc:sldMk cId="3669023410" sldId="547"/>
        </pc:sldMkLst>
      </pc:sldChg>
      <pc:sldChg chg="modTransition">
        <pc:chgData name="Hebel, Dirk" userId="be71dc4c-a1ab-4d0b-926c-9e6c8d0cf5b0" providerId="ADAL" clId="{AD0BED1E-3949-4033-B45F-26C39A4ADA10}" dt="2023-03-06T16:06:28.698" v="10"/>
        <pc:sldMkLst>
          <pc:docMk/>
          <pc:sldMk cId="584235705" sldId="611"/>
        </pc:sldMkLst>
      </pc:sldChg>
      <pc:sldChg chg="modTransition">
        <pc:chgData name="Hebel, Dirk" userId="be71dc4c-a1ab-4d0b-926c-9e6c8d0cf5b0" providerId="ADAL" clId="{AD0BED1E-3949-4033-B45F-26C39A4ADA10}" dt="2023-03-06T16:06:28.698" v="10"/>
        <pc:sldMkLst>
          <pc:docMk/>
          <pc:sldMk cId="255658505" sldId="613"/>
        </pc:sldMkLst>
      </pc:sldChg>
      <pc:sldChg chg="addSp modSp mod modTransition">
        <pc:chgData name="Hebel, Dirk" userId="be71dc4c-a1ab-4d0b-926c-9e6c8d0cf5b0" providerId="ADAL" clId="{AD0BED1E-3949-4033-B45F-26C39A4ADA10}" dt="2023-03-09T08:16:02.660" v="208"/>
        <pc:sldMkLst>
          <pc:docMk/>
          <pc:sldMk cId="3996737273" sldId="635"/>
        </pc:sldMkLst>
        <pc:spChg chg="mod">
          <ac:chgData name="Hebel, Dirk" userId="be71dc4c-a1ab-4d0b-926c-9e6c8d0cf5b0" providerId="ADAL" clId="{AD0BED1E-3949-4033-B45F-26C39A4ADA10}" dt="2023-03-09T08:16:02.660" v="208"/>
          <ac:spMkLst>
            <pc:docMk/>
            <pc:sldMk cId="3996737273" sldId="635"/>
            <ac:spMk id="13" creationId="{2CCBBB94-6747-C64D-8625-B87CB48F217A}"/>
          </ac:spMkLst>
        </pc:spChg>
        <pc:picChg chg="add mod">
          <ac:chgData name="Hebel, Dirk" userId="be71dc4c-a1ab-4d0b-926c-9e6c8d0cf5b0" providerId="ADAL" clId="{AD0BED1E-3949-4033-B45F-26C39A4ADA10}" dt="2023-03-09T08:11:18.891" v="17" actId="14861"/>
          <ac:picMkLst>
            <pc:docMk/>
            <pc:sldMk cId="3996737273" sldId="635"/>
            <ac:picMk id="2" creationId="{8BC88487-B804-7AAE-688B-82B3754C192E}"/>
          </ac:picMkLst>
        </pc:picChg>
        <pc:picChg chg="mod">
          <ac:chgData name="Hebel, Dirk" userId="be71dc4c-a1ab-4d0b-926c-9e6c8d0cf5b0" providerId="ADAL" clId="{AD0BED1E-3949-4033-B45F-26C39A4ADA10}" dt="2023-03-09T08:11:40.444" v="19" actId="108"/>
          <ac:picMkLst>
            <pc:docMk/>
            <pc:sldMk cId="3996737273" sldId="635"/>
            <ac:picMk id="11" creationId="{C28F4FB6-904B-D341-9928-247FFBEA7056}"/>
          </ac:picMkLst>
        </pc:picChg>
        <pc:picChg chg="mod">
          <ac:chgData name="Hebel, Dirk" userId="be71dc4c-a1ab-4d0b-926c-9e6c8d0cf5b0" providerId="ADAL" clId="{AD0BED1E-3949-4033-B45F-26C39A4ADA10}" dt="2023-03-09T08:11:32.137" v="18" actId="14861"/>
          <ac:picMkLst>
            <pc:docMk/>
            <pc:sldMk cId="3996737273" sldId="635"/>
            <ac:picMk id="33" creationId="{B1B13BF5-8AC2-3F4A-BCA3-38A5F45CFC06}"/>
          </ac:picMkLst>
        </pc:picChg>
      </pc:sldChg>
      <pc:sldChg chg="modSp mod modTransition modAnim">
        <pc:chgData name="Hebel, Dirk" userId="be71dc4c-a1ab-4d0b-926c-9e6c8d0cf5b0" providerId="ADAL" clId="{AD0BED1E-3949-4033-B45F-26C39A4ADA10}" dt="2023-03-09T08:14:37.131" v="165" actId="20577"/>
        <pc:sldMkLst>
          <pc:docMk/>
          <pc:sldMk cId="2185778304" sldId="2147327001"/>
        </pc:sldMkLst>
        <pc:spChg chg="mod">
          <ac:chgData name="Hebel, Dirk" userId="be71dc4c-a1ab-4d0b-926c-9e6c8d0cf5b0" providerId="ADAL" clId="{AD0BED1E-3949-4033-B45F-26C39A4ADA10}" dt="2023-03-09T08:14:37.131" v="165" actId="20577"/>
          <ac:spMkLst>
            <pc:docMk/>
            <pc:sldMk cId="2185778304" sldId="2147327001"/>
            <ac:spMk id="5" creationId="{00000000-0000-0000-0000-000000000000}"/>
          </ac:spMkLst>
        </pc:spChg>
        <pc:picChg chg="mod">
          <ac:chgData name="Hebel, Dirk" userId="be71dc4c-a1ab-4d0b-926c-9e6c8d0cf5b0" providerId="ADAL" clId="{AD0BED1E-3949-4033-B45F-26C39A4ADA10}" dt="2023-03-09T08:12:54.847" v="76" actId="1036"/>
          <ac:picMkLst>
            <pc:docMk/>
            <pc:sldMk cId="2185778304" sldId="2147327001"/>
            <ac:picMk id="6" creationId="{8D1AFA28-833F-6843-A5CA-0255256FEE34}"/>
          </ac:picMkLst>
        </pc:picChg>
      </pc:sldChg>
      <pc:sldChg chg="addSp delSp modSp mod modTransition">
        <pc:chgData name="Hebel, Dirk" userId="be71dc4c-a1ab-4d0b-926c-9e6c8d0cf5b0" providerId="ADAL" clId="{AD0BED1E-3949-4033-B45F-26C39A4ADA10}" dt="2023-03-09T08:15:27.139" v="197" actId="20577"/>
        <pc:sldMkLst>
          <pc:docMk/>
          <pc:sldMk cId="3992090400" sldId="2147327011"/>
        </pc:sldMkLst>
        <pc:spChg chg="del">
          <ac:chgData name="Hebel, Dirk" userId="be71dc4c-a1ab-4d0b-926c-9e6c8d0cf5b0" providerId="ADAL" clId="{AD0BED1E-3949-4033-B45F-26C39A4ADA10}" dt="2023-03-09T08:15:22.990" v="193" actId="478"/>
          <ac:spMkLst>
            <pc:docMk/>
            <pc:sldMk cId="3992090400" sldId="2147327011"/>
            <ac:spMk id="5" creationId="{00000000-0000-0000-0000-000000000000}"/>
          </ac:spMkLst>
        </pc:spChg>
        <pc:spChg chg="add del mod">
          <ac:chgData name="Hebel, Dirk" userId="be71dc4c-a1ab-4d0b-926c-9e6c8d0cf5b0" providerId="ADAL" clId="{AD0BED1E-3949-4033-B45F-26C39A4ADA10}" dt="2023-03-09T08:15:24.873" v="194" actId="478"/>
          <ac:spMkLst>
            <pc:docMk/>
            <pc:sldMk cId="3992090400" sldId="2147327011"/>
            <ac:spMk id="8" creationId="{1E8B210F-9BF3-17ED-12F7-21106467A20F}"/>
          </ac:spMkLst>
        </pc:spChg>
        <pc:spChg chg="add mod">
          <ac:chgData name="Hebel, Dirk" userId="be71dc4c-a1ab-4d0b-926c-9e6c8d0cf5b0" providerId="ADAL" clId="{AD0BED1E-3949-4033-B45F-26C39A4ADA10}" dt="2023-03-09T08:15:27.139" v="197" actId="20577"/>
          <ac:spMkLst>
            <pc:docMk/>
            <pc:sldMk cId="3992090400" sldId="2147327011"/>
            <ac:spMk id="9" creationId="{6BCA2A6B-5C4D-DACC-0764-9DAE23309EB8}"/>
          </ac:spMkLst>
        </pc:spChg>
      </pc:sldChg>
      <pc:sldChg chg="modSp mod modTransition">
        <pc:chgData name="Hebel, Dirk" userId="be71dc4c-a1ab-4d0b-926c-9e6c8d0cf5b0" providerId="ADAL" clId="{AD0BED1E-3949-4033-B45F-26C39A4ADA10}" dt="2023-03-09T08:15:18.553" v="192" actId="1035"/>
        <pc:sldMkLst>
          <pc:docMk/>
          <pc:sldMk cId="4287940627" sldId="2147327012"/>
        </pc:sldMkLst>
        <pc:spChg chg="mod">
          <ac:chgData name="Hebel, Dirk" userId="be71dc4c-a1ab-4d0b-926c-9e6c8d0cf5b0" providerId="ADAL" clId="{AD0BED1E-3949-4033-B45F-26C39A4ADA10}" dt="2023-03-09T08:15:18.553" v="192" actId="1035"/>
          <ac:spMkLst>
            <pc:docMk/>
            <pc:sldMk cId="4287940627" sldId="2147327012"/>
            <ac:spMk id="5" creationId="{00000000-0000-0000-0000-000000000000}"/>
          </ac:spMkLst>
        </pc:spChg>
      </pc:sldChg>
      <pc:sldChg chg="del modTransition">
        <pc:chgData name="Hebel, Dirk" userId="be71dc4c-a1ab-4d0b-926c-9e6c8d0cf5b0" providerId="ADAL" clId="{AD0BED1E-3949-4033-B45F-26C39A4ADA10}" dt="2023-03-09T08:12:14.151" v="24" actId="47"/>
        <pc:sldMkLst>
          <pc:docMk/>
          <pc:sldMk cId="1072361869" sldId="2147327047"/>
        </pc:sldMkLst>
      </pc:sldChg>
      <pc:sldChg chg="modTransition">
        <pc:chgData name="Hebel, Dirk" userId="be71dc4c-a1ab-4d0b-926c-9e6c8d0cf5b0" providerId="ADAL" clId="{AD0BED1E-3949-4033-B45F-26C39A4ADA10}" dt="2023-03-06T16:06:28.698" v="10"/>
        <pc:sldMkLst>
          <pc:docMk/>
          <pc:sldMk cId="3052081886" sldId="2147327048"/>
        </pc:sldMkLst>
      </pc:sldChg>
      <pc:sldChg chg="modTransition">
        <pc:chgData name="Hebel, Dirk" userId="be71dc4c-a1ab-4d0b-926c-9e6c8d0cf5b0" providerId="ADAL" clId="{AD0BED1E-3949-4033-B45F-26C39A4ADA10}" dt="2023-03-06T16:06:28.698" v="10"/>
        <pc:sldMkLst>
          <pc:docMk/>
          <pc:sldMk cId="3661002907" sldId="2147327049"/>
        </pc:sldMkLst>
      </pc:sldChg>
      <pc:sldChg chg="del modTransition">
        <pc:chgData name="Hebel, Dirk" userId="be71dc4c-a1ab-4d0b-926c-9e6c8d0cf5b0" providerId="ADAL" clId="{AD0BED1E-3949-4033-B45F-26C39A4ADA10}" dt="2023-03-09T08:12:13.562" v="23" actId="47"/>
        <pc:sldMkLst>
          <pc:docMk/>
          <pc:sldMk cId="3422717109" sldId="2147327050"/>
        </pc:sldMkLst>
      </pc:sldChg>
      <pc:sldChg chg="modTransition">
        <pc:chgData name="Hebel, Dirk" userId="be71dc4c-a1ab-4d0b-926c-9e6c8d0cf5b0" providerId="ADAL" clId="{AD0BED1E-3949-4033-B45F-26C39A4ADA10}" dt="2023-03-06T16:06:28.698" v="10"/>
        <pc:sldMkLst>
          <pc:docMk/>
          <pc:sldMk cId="358177723" sldId="2147327054"/>
        </pc:sldMkLst>
      </pc:sldChg>
      <pc:sldChg chg="modTransition">
        <pc:chgData name="Hebel, Dirk" userId="be71dc4c-a1ab-4d0b-926c-9e6c8d0cf5b0" providerId="ADAL" clId="{AD0BED1E-3949-4033-B45F-26C39A4ADA10}" dt="2023-03-06T16:06:28.698" v="10"/>
        <pc:sldMkLst>
          <pc:docMk/>
          <pc:sldMk cId="3419914217" sldId="2147327073"/>
        </pc:sldMkLst>
      </pc:sldChg>
      <pc:sldChg chg="addSp modSp mod modTransition">
        <pc:chgData name="Hebel, Dirk" userId="be71dc4c-a1ab-4d0b-926c-9e6c8d0cf5b0" providerId="ADAL" clId="{AD0BED1E-3949-4033-B45F-26C39A4ADA10}" dt="2023-03-06T16:06:28.698" v="10"/>
        <pc:sldMkLst>
          <pc:docMk/>
          <pc:sldMk cId="2198619011" sldId="2147327074"/>
        </pc:sldMkLst>
        <pc:spChg chg="add mod">
          <ac:chgData name="Hebel, Dirk" userId="be71dc4c-a1ab-4d0b-926c-9e6c8d0cf5b0" providerId="ADAL" clId="{AD0BED1E-3949-4033-B45F-26C39A4ADA10}" dt="2023-03-06T15:50:47.249" v="9" actId="20577"/>
          <ac:spMkLst>
            <pc:docMk/>
            <pc:sldMk cId="2198619011" sldId="2147327074"/>
            <ac:spMk id="16" creationId="{5CFE7EB9-FA71-CAFA-7212-AADB08F57D3B}"/>
          </ac:spMkLst>
        </pc:spChg>
      </pc:sldChg>
      <pc:sldChg chg="modTransition">
        <pc:chgData name="Hebel, Dirk" userId="be71dc4c-a1ab-4d0b-926c-9e6c8d0cf5b0" providerId="ADAL" clId="{AD0BED1E-3949-4033-B45F-26C39A4ADA10}" dt="2023-03-06T16:06:28.698" v="10"/>
        <pc:sldMkLst>
          <pc:docMk/>
          <pc:sldMk cId="1895569461" sldId="2147327075"/>
        </pc:sldMkLst>
      </pc:sldChg>
      <pc:sldChg chg="del modTransition">
        <pc:chgData name="Hebel, Dirk" userId="be71dc4c-a1ab-4d0b-926c-9e6c8d0cf5b0" providerId="ADAL" clId="{AD0BED1E-3949-4033-B45F-26C39A4ADA10}" dt="2023-03-09T08:11:50.270" v="20" actId="47"/>
        <pc:sldMkLst>
          <pc:docMk/>
          <pc:sldMk cId="3030747132" sldId="2147327076"/>
        </pc:sldMkLst>
      </pc:sldChg>
      <pc:sldChg chg="addSp modSp mod modTransition">
        <pc:chgData name="Hebel, Dirk" userId="be71dc4c-a1ab-4d0b-926c-9e6c8d0cf5b0" providerId="ADAL" clId="{AD0BED1E-3949-4033-B45F-26C39A4ADA10}" dt="2023-03-09T08:15:53.935" v="205" actId="20577"/>
        <pc:sldMkLst>
          <pc:docMk/>
          <pc:sldMk cId="2752750649" sldId="2147327077"/>
        </pc:sldMkLst>
        <pc:spChg chg="add mod">
          <ac:chgData name="Hebel, Dirk" userId="be71dc4c-a1ab-4d0b-926c-9e6c8d0cf5b0" providerId="ADAL" clId="{AD0BED1E-3949-4033-B45F-26C39A4ADA10}" dt="2023-03-09T08:15:53.935" v="205" actId="20577"/>
          <ac:spMkLst>
            <pc:docMk/>
            <pc:sldMk cId="2752750649" sldId="2147327077"/>
            <ac:spMk id="5" creationId="{F0EAAAB8-0531-831B-7C97-EC28710FDDFB}"/>
          </ac:spMkLst>
        </pc:spChg>
      </pc:sldChg>
      <pc:sldChg chg="modTransition">
        <pc:chgData name="Hebel, Dirk" userId="be71dc4c-a1ab-4d0b-926c-9e6c8d0cf5b0" providerId="ADAL" clId="{AD0BED1E-3949-4033-B45F-26C39A4ADA10}" dt="2023-03-06T16:06:28.698" v="10"/>
        <pc:sldMkLst>
          <pc:docMk/>
          <pc:sldMk cId="793671156" sldId="2147327078"/>
        </pc:sldMkLst>
      </pc:sldChg>
      <pc:sldChg chg="delSp mod modTransition">
        <pc:chgData name="Hebel, Dirk" userId="be71dc4c-a1ab-4d0b-926c-9e6c8d0cf5b0" providerId="ADAL" clId="{AD0BED1E-3949-4033-B45F-26C39A4ADA10}" dt="2023-03-06T16:06:28.698" v="10"/>
        <pc:sldMkLst>
          <pc:docMk/>
          <pc:sldMk cId="1921530647" sldId="2147327079"/>
        </pc:sldMkLst>
        <pc:spChg chg="del">
          <ac:chgData name="Hebel, Dirk" userId="be71dc4c-a1ab-4d0b-926c-9e6c8d0cf5b0" providerId="ADAL" clId="{AD0BED1E-3949-4033-B45F-26C39A4ADA10}" dt="2023-03-06T15:37:56.347" v="0" actId="478"/>
          <ac:spMkLst>
            <pc:docMk/>
            <pc:sldMk cId="1921530647" sldId="2147327079"/>
            <ac:spMk id="4" creationId="{37F36A73-9953-40D4-EB5D-C74328CAE51D}"/>
          </ac:spMkLst>
        </pc:spChg>
      </pc:sldChg>
    </pc:docChg>
  </pc:docChgLst>
  <pc:docChgLst>
    <pc:chgData name="Hebel, Dirk" userId="be71dc4c-a1ab-4d0b-926c-9e6c8d0cf5b0" providerId="ADAL" clId="{7C525FD4-0803-4512-A428-64732F6C0BD2}"/>
    <pc:docChg chg="undo custSel addSld delSld modSld sldOrd modMainMaster">
      <pc:chgData name="Hebel, Dirk" userId="be71dc4c-a1ab-4d0b-926c-9e6c8d0cf5b0" providerId="ADAL" clId="{7C525FD4-0803-4512-A428-64732F6C0BD2}" dt="2023-03-06T15:28:10.395" v="1348" actId="5793"/>
      <pc:docMkLst>
        <pc:docMk/>
      </pc:docMkLst>
      <pc:sldChg chg="delSp modSp del mod">
        <pc:chgData name="Hebel, Dirk" userId="be71dc4c-a1ab-4d0b-926c-9e6c8d0cf5b0" providerId="ADAL" clId="{7C525FD4-0803-4512-A428-64732F6C0BD2}" dt="2023-03-06T15:20:19.461" v="1192" actId="47"/>
        <pc:sldMkLst>
          <pc:docMk/>
          <pc:sldMk cId="2985036701" sldId="269"/>
        </pc:sldMkLst>
        <pc:spChg chg="mod">
          <ac:chgData name="Hebel, Dirk" userId="be71dc4c-a1ab-4d0b-926c-9e6c8d0cf5b0" providerId="ADAL" clId="{7C525FD4-0803-4512-A428-64732F6C0BD2}" dt="2023-03-06T14:29:31.550" v="141" actId="20577"/>
          <ac:spMkLst>
            <pc:docMk/>
            <pc:sldMk cId="2985036701" sldId="269"/>
            <ac:spMk id="2" creationId="{2EAA8641-5EB8-5C4F-B4FB-3793B41A3C21}"/>
          </ac:spMkLst>
        </pc:spChg>
        <pc:spChg chg="mod">
          <ac:chgData name="Hebel, Dirk" userId="be71dc4c-a1ab-4d0b-926c-9e6c8d0cf5b0" providerId="ADAL" clId="{7C525FD4-0803-4512-A428-64732F6C0BD2}" dt="2023-03-06T14:29:42.511" v="168" actId="20577"/>
          <ac:spMkLst>
            <pc:docMk/>
            <pc:sldMk cId="2985036701" sldId="269"/>
            <ac:spMk id="6" creationId="{FA675EAB-D24B-654F-8613-09400F4074D7}"/>
          </ac:spMkLst>
        </pc:spChg>
        <pc:spChg chg="mod">
          <ac:chgData name="Hebel, Dirk" userId="be71dc4c-a1ab-4d0b-926c-9e6c8d0cf5b0" providerId="ADAL" clId="{7C525FD4-0803-4512-A428-64732F6C0BD2}" dt="2023-03-06T14:29:07.331" v="91" actId="21"/>
          <ac:spMkLst>
            <pc:docMk/>
            <pc:sldMk cId="2985036701" sldId="269"/>
            <ac:spMk id="7" creationId="{A04C0622-A25E-5A40-8DD8-8ECF02C628D4}"/>
          </ac:spMkLst>
        </pc:spChg>
        <pc:spChg chg="mod">
          <ac:chgData name="Hebel, Dirk" userId="be71dc4c-a1ab-4d0b-926c-9e6c8d0cf5b0" providerId="ADAL" clId="{7C525FD4-0803-4512-A428-64732F6C0BD2}" dt="2023-03-06T14:29:36.324" v="143" actId="20577"/>
          <ac:spMkLst>
            <pc:docMk/>
            <pc:sldMk cId="2985036701" sldId="269"/>
            <ac:spMk id="8" creationId="{45CF06D1-47F1-C24F-B2CC-2F25FFBD2140}"/>
          </ac:spMkLst>
        </pc:spChg>
        <pc:picChg chg="del">
          <ac:chgData name="Hebel, Dirk" userId="be71dc4c-a1ab-4d0b-926c-9e6c8d0cf5b0" providerId="ADAL" clId="{7C525FD4-0803-4512-A428-64732F6C0BD2}" dt="2023-03-06T14:33:44.920" v="205" actId="478"/>
          <ac:picMkLst>
            <pc:docMk/>
            <pc:sldMk cId="2985036701" sldId="269"/>
            <ac:picMk id="4" creationId="{1D02D40E-058F-25D6-5B72-4D94359ECE01}"/>
          </ac:picMkLst>
        </pc:picChg>
      </pc:sldChg>
      <pc:sldChg chg="del">
        <pc:chgData name="Hebel, Dirk" userId="be71dc4c-a1ab-4d0b-926c-9e6c8d0cf5b0" providerId="ADAL" clId="{7C525FD4-0803-4512-A428-64732F6C0BD2}" dt="2023-03-06T14:35:32.085" v="207" actId="47"/>
        <pc:sldMkLst>
          <pc:docMk/>
          <pc:sldMk cId="2591649713" sldId="276"/>
        </pc:sldMkLst>
      </pc:sldChg>
      <pc:sldChg chg="delSp del mod">
        <pc:chgData name="Hebel, Dirk" userId="be71dc4c-a1ab-4d0b-926c-9e6c8d0cf5b0" providerId="ADAL" clId="{7C525FD4-0803-4512-A428-64732F6C0BD2}" dt="2023-03-06T14:56:14.110" v="559" actId="47"/>
        <pc:sldMkLst>
          <pc:docMk/>
          <pc:sldMk cId="1543191030" sldId="279"/>
        </pc:sldMkLst>
        <pc:spChg chg="del">
          <ac:chgData name="Hebel, Dirk" userId="be71dc4c-a1ab-4d0b-926c-9e6c8d0cf5b0" providerId="ADAL" clId="{7C525FD4-0803-4512-A428-64732F6C0BD2}" dt="2023-03-06T14:38:05.156" v="216" actId="478"/>
          <ac:spMkLst>
            <pc:docMk/>
            <pc:sldMk cId="1543191030" sldId="279"/>
            <ac:spMk id="2" creationId="{4CFFE2D7-E107-9144-9922-AC5FBCBC6AA3}"/>
          </ac:spMkLst>
        </pc:spChg>
        <pc:spChg chg="del">
          <ac:chgData name="Hebel, Dirk" userId="be71dc4c-a1ab-4d0b-926c-9e6c8d0cf5b0" providerId="ADAL" clId="{7C525FD4-0803-4512-A428-64732F6C0BD2}" dt="2023-03-06T14:38:05.156" v="216" actId="478"/>
          <ac:spMkLst>
            <pc:docMk/>
            <pc:sldMk cId="1543191030" sldId="279"/>
            <ac:spMk id="3" creationId="{98D98323-6253-514D-A50E-A4CA911C612C}"/>
          </ac:spMkLst>
        </pc:spChg>
        <pc:picChg chg="del">
          <ac:chgData name="Hebel, Dirk" userId="be71dc4c-a1ab-4d0b-926c-9e6c8d0cf5b0" providerId="ADAL" clId="{7C525FD4-0803-4512-A428-64732F6C0BD2}" dt="2023-03-06T14:33:43.578" v="204" actId="478"/>
          <ac:picMkLst>
            <pc:docMk/>
            <pc:sldMk cId="1543191030" sldId="279"/>
            <ac:picMk id="7" creationId="{91A96B44-40CF-A2A2-ED9C-EF33FE587F32}"/>
          </ac:picMkLst>
        </pc:picChg>
      </pc:sldChg>
      <pc:sldChg chg="del">
        <pc:chgData name="Hebel, Dirk" userId="be71dc4c-a1ab-4d0b-926c-9e6c8d0cf5b0" providerId="ADAL" clId="{7C525FD4-0803-4512-A428-64732F6C0BD2}" dt="2023-03-06T14:35:39.688" v="211" actId="47"/>
        <pc:sldMkLst>
          <pc:docMk/>
          <pc:sldMk cId="2654656944" sldId="280"/>
        </pc:sldMkLst>
      </pc:sldChg>
      <pc:sldChg chg="del">
        <pc:chgData name="Hebel, Dirk" userId="be71dc4c-a1ab-4d0b-926c-9e6c8d0cf5b0" providerId="ADAL" clId="{7C525FD4-0803-4512-A428-64732F6C0BD2}" dt="2023-03-06T14:35:32.085" v="207" actId="47"/>
        <pc:sldMkLst>
          <pc:docMk/>
          <pc:sldMk cId="3006427174" sldId="281"/>
        </pc:sldMkLst>
      </pc:sldChg>
      <pc:sldChg chg="del">
        <pc:chgData name="Hebel, Dirk" userId="be71dc4c-a1ab-4d0b-926c-9e6c8d0cf5b0" providerId="ADAL" clId="{7C525FD4-0803-4512-A428-64732F6C0BD2}" dt="2023-03-06T14:35:32.085" v="207" actId="47"/>
        <pc:sldMkLst>
          <pc:docMk/>
          <pc:sldMk cId="3595588551" sldId="282"/>
        </pc:sldMkLst>
      </pc:sldChg>
      <pc:sldChg chg="del">
        <pc:chgData name="Hebel, Dirk" userId="be71dc4c-a1ab-4d0b-926c-9e6c8d0cf5b0" providerId="ADAL" clId="{7C525FD4-0803-4512-A428-64732F6C0BD2}" dt="2023-03-06T14:35:32.085" v="207" actId="47"/>
        <pc:sldMkLst>
          <pc:docMk/>
          <pc:sldMk cId="134988655" sldId="283"/>
        </pc:sldMkLst>
      </pc:sldChg>
      <pc:sldChg chg="del">
        <pc:chgData name="Hebel, Dirk" userId="be71dc4c-a1ab-4d0b-926c-9e6c8d0cf5b0" providerId="ADAL" clId="{7C525FD4-0803-4512-A428-64732F6C0BD2}" dt="2023-03-06T14:35:35.008" v="208" actId="47"/>
        <pc:sldMkLst>
          <pc:docMk/>
          <pc:sldMk cId="1909655624" sldId="284"/>
        </pc:sldMkLst>
      </pc:sldChg>
      <pc:sldChg chg="del">
        <pc:chgData name="Hebel, Dirk" userId="be71dc4c-a1ab-4d0b-926c-9e6c8d0cf5b0" providerId="ADAL" clId="{7C525FD4-0803-4512-A428-64732F6C0BD2}" dt="2023-03-06T14:35:36.435" v="209" actId="47"/>
        <pc:sldMkLst>
          <pc:docMk/>
          <pc:sldMk cId="545482023" sldId="286"/>
        </pc:sldMkLst>
      </pc:sldChg>
      <pc:sldChg chg="del">
        <pc:chgData name="Hebel, Dirk" userId="be71dc4c-a1ab-4d0b-926c-9e6c8d0cf5b0" providerId="ADAL" clId="{7C525FD4-0803-4512-A428-64732F6C0BD2}" dt="2023-03-06T14:35:39.052" v="210" actId="47"/>
        <pc:sldMkLst>
          <pc:docMk/>
          <pc:sldMk cId="1725320845" sldId="287"/>
        </pc:sldMkLst>
      </pc:sldChg>
      <pc:sldChg chg="del">
        <pc:chgData name="Hebel, Dirk" userId="be71dc4c-a1ab-4d0b-926c-9e6c8d0cf5b0" providerId="ADAL" clId="{7C525FD4-0803-4512-A428-64732F6C0BD2}" dt="2023-03-06T14:35:32.085" v="207" actId="47"/>
        <pc:sldMkLst>
          <pc:docMk/>
          <pc:sldMk cId="3200385466" sldId="288"/>
        </pc:sldMkLst>
      </pc:sldChg>
      <pc:sldChg chg="add">
        <pc:chgData name="Hebel, Dirk" userId="be71dc4c-a1ab-4d0b-926c-9e6c8d0cf5b0" providerId="ADAL" clId="{7C525FD4-0803-4512-A428-64732F6C0BD2}" dt="2023-03-06T14:30:42.970" v="169"/>
        <pc:sldMkLst>
          <pc:docMk/>
          <pc:sldMk cId="2844048779" sldId="536"/>
        </pc:sldMkLst>
      </pc:sldChg>
      <pc:sldChg chg="addSp delSp modSp add mod">
        <pc:chgData name="Hebel, Dirk" userId="be71dc4c-a1ab-4d0b-926c-9e6c8d0cf5b0" providerId="ADAL" clId="{7C525FD4-0803-4512-A428-64732F6C0BD2}" dt="2023-03-06T14:55:24.834" v="552" actId="1076"/>
        <pc:sldMkLst>
          <pc:docMk/>
          <pc:sldMk cId="3669023410" sldId="547"/>
        </pc:sldMkLst>
        <pc:spChg chg="add del mod">
          <ac:chgData name="Hebel, Dirk" userId="be71dc4c-a1ab-4d0b-926c-9e6c8d0cf5b0" providerId="ADAL" clId="{7C525FD4-0803-4512-A428-64732F6C0BD2}" dt="2023-03-06T14:48:26.008" v="412"/>
          <ac:spMkLst>
            <pc:docMk/>
            <pc:sldMk cId="3669023410" sldId="547"/>
            <ac:spMk id="2" creationId="{BC88A635-415B-02E3-47C9-570D8B6DF980}"/>
          </ac:spMkLst>
        </pc:spChg>
        <pc:spChg chg="add del mod">
          <ac:chgData name="Hebel, Dirk" userId="be71dc4c-a1ab-4d0b-926c-9e6c8d0cf5b0" providerId="ADAL" clId="{7C525FD4-0803-4512-A428-64732F6C0BD2}" dt="2023-03-06T14:48:36.533" v="414" actId="478"/>
          <ac:spMkLst>
            <pc:docMk/>
            <pc:sldMk cId="3669023410" sldId="547"/>
            <ac:spMk id="3" creationId="{571076EF-0AA0-C9B2-F621-2CDD77F0DEA7}"/>
          </ac:spMkLst>
        </pc:spChg>
        <pc:spChg chg="mod">
          <ac:chgData name="Hebel, Dirk" userId="be71dc4c-a1ab-4d0b-926c-9e6c8d0cf5b0" providerId="ADAL" clId="{7C525FD4-0803-4512-A428-64732F6C0BD2}" dt="2023-03-06T14:48:32.472" v="413" actId="6549"/>
          <ac:spMkLst>
            <pc:docMk/>
            <pc:sldMk cId="3669023410" sldId="547"/>
            <ac:spMk id="5" creationId="{00000000-0000-0000-0000-000000000000}"/>
          </ac:spMkLst>
        </pc:spChg>
        <pc:spChg chg="mod">
          <ac:chgData name="Hebel, Dirk" userId="be71dc4c-a1ab-4d0b-926c-9e6c8d0cf5b0" providerId="ADAL" clId="{7C525FD4-0803-4512-A428-64732F6C0BD2}" dt="2023-03-06T14:55:16.028" v="550"/>
          <ac:spMkLst>
            <pc:docMk/>
            <pc:sldMk cId="3669023410" sldId="547"/>
            <ac:spMk id="6" creationId="{5C98DBF0-385A-F1C5-9616-96F6B84D1F46}"/>
          </ac:spMkLst>
        </pc:spChg>
        <pc:spChg chg="mod">
          <ac:chgData name="Hebel, Dirk" userId="be71dc4c-a1ab-4d0b-926c-9e6c8d0cf5b0" providerId="ADAL" clId="{7C525FD4-0803-4512-A428-64732F6C0BD2}" dt="2023-03-06T14:55:16.028" v="550"/>
          <ac:spMkLst>
            <pc:docMk/>
            <pc:sldMk cId="3669023410" sldId="547"/>
            <ac:spMk id="7" creationId="{7D113DF3-6671-9C44-BC7B-FFEC65A14A8E}"/>
          </ac:spMkLst>
        </pc:spChg>
        <pc:spChg chg="mod">
          <ac:chgData name="Hebel, Dirk" userId="be71dc4c-a1ab-4d0b-926c-9e6c8d0cf5b0" providerId="ADAL" clId="{7C525FD4-0803-4512-A428-64732F6C0BD2}" dt="2023-03-06T14:55:16.028" v="550"/>
          <ac:spMkLst>
            <pc:docMk/>
            <pc:sldMk cId="3669023410" sldId="547"/>
            <ac:spMk id="8" creationId="{38B2F52F-DFD8-F660-0E4B-199A5F8F4710}"/>
          </ac:spMkLst>
        </pc:spChg>
        <pc:spChg chg="mod">
          <ac:chgData name="Hebel, Dirk" userId="be71dc4c-a1ab-4d0b-926c-9e6c8d0cf5b0" providerId="ADAL" clId="{7C525FD4-0803-4512-A428-64732F6C0BD2}" dt="2023-03-06T14:55:16.028" v="550"/>
          <ac:spMkLst>
            <pc:docMk/>
            <pc:sldMk cId="3669023410" sldId="547"/>
            <ac:spMk id="9" creationId="{30C6BFC9-6624-AFC2-F46A-333DE1933761}"/>
          </ac:spMkLst>
        </pc:spChg>
        <pc:spChg chg="add mod">
          <ac:chgData name="Hebel, Dirk" userId="be71dc4c-a1ab-4d0b-926c-9e6c8d0cf5b0" providerId="ADAL" clId="{7C525FD4-0803-4512-A428-64732F6C0BD2}" dt="2023-03-06T14:55:24.834" v="552" actId="1076"/>
          <ac:spMkLst>
            <pc:docMk/>
            <pc:sldMk cId="3669023410" sldId="547"/>
            <ac:spMk id="10" creationId="{44E10EFB-2792-4ACD-7009-45001231CB6A}"/>
          </ac:spMkLst>
        </pc:spChg>
        <pc:spChg chg="del">
          <ac:chgData name="Hebel, Dirk" userId="be71dc4c-a1ab-4d0b-926c-9e6c8d0cf5b0" providerId="ADAL" clId="{7C525FD4-0803-4512-A428-64732F6C0BD2}" dt="2023-03-06T14:48:40.938" v="416" actId="478"/>
          <ac:spMkLst>
            <pc:docMk/>
            <pc:sldMk cId="3669023410" sldId="547"/>
            <ac:spMk id="13" creationId="{2CCBBB94-6747-C64D-8625-B87CB48F217A}"/>
          </ac:spMkLst>
        </pc:spChg>
        <pc:spChg chg="del">
          <ac:chgData name="Hebel, Dirk" userId="be71dc4c-a1ab-4d0b-926c-9e6c8d0cf5b0" providerId="ADAL" clId="{7C525FD4-0803-4512-A428-64732F6C0BD2}" dt="2023-03-06T14:48:37.223" v="415" actId="478"/>
          <ac:spMkLst>
            <pc:docMk/>
            <pc:sldMk cId="3669023410" sldId="547"/>
            <ac:spMk id="64" creationId="{03504CD0-A3C5-7340-B418-767F1075AA00}"/>
          </ac:spMkLst>
        </pc:spChg>
        <pc:spChg chg="del">
          <ac:chgData name="Hebel, Dirk" userId="be71dc4c-a1ab-4d0b-926c-9e6c8d0cf5b0" providerId="ADAL" clId="{7C525FD4-0803-4512-A428-64732F6C0BD2}" dt="2023-03-06T14:50:49.193" v="525" actId="21"/>
          <ac:spMkLst>
            <pc:docMk/>
            <pc:sldMk cId="3669023410" sldId="547"/>
            <ac:spMk id="76" creationId="{E7F53F94-614C-004A-AAAF-1E2D0985D026}"/>
          </ac:spMkLst>
        </pc:spChg>
        <pc:grpChg chg="add mod">
          <ac:chgData name="Hebel, Dirk" userId="be71dc4c-a1ab-4d0b-926c-9e6c8d0cf5b0" providerId="ADAL" clId="{7C525FD4-0803-4512-A428-64732F6C0BD2}" dt="2023-03-06T14:55:20.257" v="551" actId="1076"/>
          <ac:grpSpMkLst>
            <pc:docMk/>
            <pc:sldMk cId="3669023410" sldId="547"/>
            <ac:grpSpMk id="4" creationId="{61D6FD9C-58F9-AFC6-A3AC-BAB29900FD56}"/>
          </ac:grpSpMkLst>
        </pc:grpChg>
        <pc:grpChg chg="del">
          <ac:chgData name="Hebel, Dirk" userId="be71dc4c-a1ab-4d0b-926c-9e6c8d0cf5b0" providerId="ADAL" clId="{7C525FD4-0803-4512-A428-64732F6C0BD2}" dt="2023-03-06T14:50:49.193" v="525" actId="21"/>
          <ac:grpSpMkLst>
            <pc:docMk/>
            <pc:sldMk cId="3669023410" sldId="547"/>
            <ac:grpSpMk id="12" creationId="{F2F8A305-9764-C948-83AE-FF8788D2343A}"/>
          </ac:grpSpMkLst>
        </pc:grpChg>
      </pc:sldChg>
      <pc:sldChg chg="addSp delSp modSp add mod">
        <pc:chgData name="Hebel, Dirk" userId="be71dc4c-a1ab-4d0b-926c-9e6c8d0cf5b0" providerId="ADAL" clId="{7C525FD4-0803-4512-A428-64732F6C0BD2}" dt="2023-03-06T15:14:05.604" v="783"/>
        <pc:sldMkLst>
          <pc:docMk/>
          <pc:sldMk cId="584235705" sldId="611"/>
        </pc:sldMkLst>
        <pc:spChg chg="add del mod">
          <ac:chgData name="Hebel, Dirk" userId="be71dc4c-a1ab-4d0b-926c-9e6c8d0cf5b0" providerId="ADAL" clId="{7C525FD4-0803-4512-A428-64732F6C0BD2}" dt="2023-03-06T15:10:23.633" v="714"/>
          <ac:spMkLst>
            <pc:docMk/>
            <pc:sldMk cId="584235705" sldId="611"/>
            <ac:spMk id="2" creationId="{6F2C19BC-25A4-A0C3-24B2-FCE84BD548D2}"/>
          </ac:spMkLst>
        </pc:spChg>
        <pc:spChg chg="add del mod">
          <ac:chgData name="Hebel, Dirk" userId="be71dc4c-a1ab-4d0b-926c-9e6c8d0cf5b0" providerId="ADAL" clId="{7C525FD4-0803-4512-A428-64732F6C0BD2}" dt="2023-03-06T15:10:27.161" v="715" actId="478"/>
          <ac:spMkLst>
            <pc:docMk/>
            <pc:sldMk cId="584235705" sldId="611"/>
            <ac:spMk id="3" creationId="{08CE1672-FEF9-EA9A-33A5-4A8FB989214E}"/>
          </ac:spMkLst>
        </pc:spChg>
        <pc:spChg chg="mod">
          <ac:chgData name="Hebel, Dirk" userId="be71dc4c-a1ab-4d0b-926c-9e6c8d0cf5b0" providerId="ADAL" clId="{7C525FD4-0803-4512-A428-64732F6C0BD2}" dt="2023-03-06T15:10:56.157" v="747" actId="14100"/>
          <ac:spMkLst>
            <pc:docMk/>
            <pc:sldMk cId="584235705" sldId="611"/>
            <ac:spMk id="4" creationId="{00000000-0000-0000-0000-000000000000}"/>
          </ac:spMkLst>
        </pc:spChg>
        <pc:spChg chg="add mod">
          <ac:chgData name="Hebel, Dirk" userId="be71dc4c-a1ab-4d0b-926c-9e6c8d0cf5b0" providerId="ADAL" clId="{7C525FD4-0803-4512-A428-64732F6C0BD2}" dt="2023-03-06T15:14:05.604" v="783"/>
          <ac:spMkLst>
            <pc:docMk/>
            <pc:sldMk cId="584235705" sldId="611"/>
            <ac:spMk id="5" creationId="{FAD14E43-9085-16F1-2E97-03935DF73BA1}"/>
          </ac:spMkLst>
        </pc:spChg>
        <pc:spChg chg="mod">
          <ac:chgData name="Hebel, Dirk" userId="be71dc4c-a1ab-4d0b-926c-9e6c8d0cf5b0" providerId="ADAL" clId="{7C525FD4-0803-4512-A428-64732F6C0BD2}" dt="2023-03-06T15:13:20.292" v="778" actId="255"/>
          <ac:spMkLst>
            <pc:docMk/>
            <pc:sldMk cId="584235705" sldId="611"/>
            <ac:spMk id="10" creationId="{D6875A27-D82D-D945-801D-40E734D7024F}"/>
          </ac:spMkLst>
        </pc:spChg>
        <pc:spChg chg="mod">
          <ac:chgData name="Hebel, Dirk" userId="be71dc4c-a1ab-4d0b-926c-9e6c8d0cf5b0" providerId="ADAL" clId="{7C525FD4-0803-4512-A428-64732F6C0BD2}" dt="2023-03-06T15:13:20.292" v="778" actId="255"/>
          <ac:spMkLst>
            <pc:docMk/>
            <pc:sldMk cId="584235705" sldId="611"/>
            <ac:spMk id="11" creationId="{EB36101A-8E11-F14E-9E16-BCB84018085F}"/>
          </ac:spMkLst>
        </pc:spChg>
        <pc:spChg chg="mod">
          <ac:chgData name="Hebel, Dirk" userId="be71dc4c-a1ab-4d0b-926c-9e6c8d0cf5b0" providerId="ADAL" clId="{7C525FD4-0803-4512-A428-64732F6C0BD2}" dt="2023-03-06T15:13:20.292" v="778" actId="255"/>
          <ac:spMkLst>
            <pc:docMk/>
            <pc:sldMk cId="584235705" sldId="611"/>
            <ac:spMk id="12" creationId="{DAAF8B12-C03F-FE47-9717-FFF150B7814B}"/>
          </ac:spMkLst>
        </pc:spChg>
        <pc:spChg chg="mod">
          <ac:chgData name="Hebel, Dirk" userId="be71dc4c-a1ab-4d0b-926c-9e6c8d0cf5b0" providerId="ADAL" clId="{7C525FD4-0803-4512-A428-64732F6C0BD2}" dt="2023-03-06T15:13:46.601" v="781" actId="255"/>
          <ac:spMkLst>
            <pc:docMk/>
            <pc:sldMk cId="584235705" sldId="611"/>
            <ac:spMk id="14" creationId="{79124BC2-860A-B84F-98F4-6F8EB7978C8F}"/>
          </ac:spMkLst>
        </pc:spChg>
        <pc:spChg chg="mod">
          <ac:chgData name="Hebel, Dirk" userId="be71dc4c-a1ab-4d0b-926c-9e6c8d0cf5b0" providerId="ADAL" clId="{7C525FD4-0803-4512-A428-64732F6C0BD2}" dt="2023-03-06T15:13:20.292" v="778" actId="255"/>
          <ac:spMkLst>
            <pc:docMk/>
            <pc:sldMk cId="584235705" sldId="611"/>
            <ac:spMk id="16" creationId="{0E004ACE-1C84-A644-96F5-ED02D3456C90}"/>
          </ac:spMkLst>
        </pc:spChg>
        <pc:spChg chg="mod">
          <ac:chgData name="Hebel, Dirk" userId="be71dc4c-a1ab-4d0b-926c-9e6c8d0cf5b0" providerId="ADAL" clId="{7C525FD4-0803-4512-A428-64732F6C0BD2}" dt="2023-03-06T15:13:20.292" v="778" actId="255"/>
          <ac:spMkLst>
            <pc:docMk/>
            <pc:sldMk cId="584235705" sldId="611"/>
            <ac:spMk id="18" creationId="{401C5EB5-DEA6-524C-94F9-F1CC1C0FDF8A}"/>
          </ac:spMkLst>
        </pc:spChg>
        <pc:spChg chg="mod">
          <ac:chgData name="Hebel, Dirk" userId="be71dc4c-a1ab-4d0b-926c-9e6c8d0cf5b0" providerId="ADAL" clId="{7C525FD4-0803-4512-A428-64732F6C0BD2}" dt="2023-03-06T15:13:20.292" v="778" actId="255"/>
          <ac:spMkLst>
            <pc:docMk/>
            <pc:sldMk cId="584235705" sldId="611"/>
            <ac:spMk id="19" creationId="{C2B1D1F1-9A85-DB46-A2AE-1098AAA2AF6B}"/>
          </ac:spMkLst>
        </pc:spChg>
        <pc:spChg chg="mod">
          <ac:chgData name="Hebel, Dirk" userId="be71dc4c-a1ab-4d0b-926c-9e6c8d0cf5b0" providerId="ADAL" clId="{7C525FD4-0803-4512-A428-64732F6C0BD2}" dt="2023-03-06T15:13:46.601" v="781" actId="255"/>
          <ac:spMkLst>
            <pc:docMk/>
            <pc:sldMk cId="584235705" sldId="611"/>
            <ac:spMk id="20" creationId="{A195008C-9BB1-004F-8852-94929A80759A}"/>
          </ac:spMkLst>
        </pc:spChg>
        <pc:spChg chg="mod">
          <ac:chgData name="Hebel, Dirk" userId="be71dc4c-a1ab-4d0b-926c-9e6c8d0cf5b0" providerId="ADAL" clId="{7C525FD4-0803-4512-A428-64732F6C0BD2}" dt="2023-03-06T15:13:46.601" v="781" actId="255"/>
          <ac:spMkLst>
            <pc:docMk/>
            <pc:sldMk cId="584235705" sldId="611"/>
            <ac:spMk id="21" creationId="{ED207231-5FD1-264E-A8E5-56757EC28C2B}"/>
          </ac:spMkLst>
        </pc:spChg>
        <pc:spChg chg="mod">
          <ac:chgData name="Hebel, Dirk" userId="be71dc4c-a1ab-4d0b-926c-9e6c8d0cf5b0" providerId="ADAL" clId="{7C525FD4-0803-4512-A428-64732F6C0BD2}" dt="2023-03-06T15:13:46.601" v="781" actId="255"/>
          <ac:spMkLst>
            <pc:docMk/>
            <pc:sldMk cId="584235705" sldId="611"/>
            <ac:spMk id="22" creationId="{3C39A54B-EB3F-D546-B725-810BF3E7E7CE}"/>
          </ac:spMkLst>
        </pc:spChg>
        <pc:spChg chg="mod">
          <ac:chgData name="Hebel, Dirk" userId="be71dc4c-a1ab-4d0b-926c-9e6c8d0cf5b0" providerId="ADAL" clId="{7C525FD4-0803-4512-A428-64732F6C0BD2}" dt="2023-03-06T15:13:20.292" v="778" actId="255"/>
          <ac:spMkLst>
            <pc:docMk/>
            <pc:sldMk cId="584235705" sldId="611"/>
            <ac:spMk id="23" creationId="{6C217929-B4CD-0A43-A9D7-621E76C8A896}"/>
          </ac:spMkLst>
        </pc:spChg>
        <pc:spChg chg="mod">
          <ac:chgData name="Hebel, Dirk" userId="be71dc4c-a1ab-4d0b-926c-9e6c8d0cf5b0" providerId="ADAL" clId="{7C525FD4-0803-4512-A428-64732F6C0BD2}" dt="2023-03-06T15:13:20.292" v="778" actId="255"/>
          <ac:spMkLst>
            <pc:docMk/>
            <pc:sldMk cId="584235705" sldId="611"/>
            <ac:spMk id="24" creationId="{D8DC6783-1C04-3C4E-856A-15BCBE9636D1}"/>
          </ac:spMkLst>
        </pc:spChg>
        <pc:spChg chg="mod">
          <ac:chgData name="Hebel, Dirk" userId="be71dc4c-a1ab-4d0b-926c-9e6c8d0cf5b0" providerId="ADAL" clId="{7C525FD4-0803-4512-A428-64732F6C0BD2}" dt="2023-03-06T15:13:20.292" v="778" actId="255"/>
          <ac:spMkLst>
            <pc:docMk/>
            <pc:sldMk cId="584235705" sldId="611"/>
            <ac:spMk id="26" creationId="{5FDCA6C1-CFCD-A549-BBD2-DDB7516CA15B}"/>
          </ac:spMkLst>
        </pc:spChg>
        <pc:spChg chg="mod">
          <ac:chgData name="Hebel, Dirk" userId="be71dc4c-a1ab-4d0b-926c-9e6c8d0cf5b0" providerId="ADAL" clId="{7C525FD4-0803-4512-A428-64732F6C0BD2}" dt="2023-03-06T15:13:20.292" v="778" actId="255"/>
          <ac:spMkLst>
            <pc:docMk/>
            <pc:sldMk cId="584235705" sldId="611"/>
            <ac:spMk id="29" creationId="{02BC1384-2B56-DC4F-BE8C-49033E3F02F2}"/>
          </ac:spMkLst>
        </pc:spChg>
      </pc:sldChg>
      <pc:sldChg chg="addSp delSp modSp add mod">
        <pc:chgData name="Hebel, Dirk" userId="be71dc4c-a1ab-4d0b-926c-9e6c8d0cf5b0" providerId="ADAL" clId="{7C525FD4-0803-4512-A428-64732F6C0BD2}" dt="2023-03-06T15:13:52.205" v="782" actId="255"/>
        <pc:sldMkLst>
          <pc:docMk/>
          <pc:sldMk cId="255658505" sldId="613"/>
        </pc:sldMkLst>
        <pc:spChg chg="del mod">
          <ac:chgData name="Hebel, Dirk" userId="be71dc4c-a1ab-4d0b-926c-9e6c8d0cf5b0" providerId="ADAL" clId="{7C525FD4-0803-4512-A428-64732F6C0BD2}" dt="2023-03-06T15:11:02.877" v="748" actId="478"/>
          <ac:spMkLst>
            <pc:docMk/>
            <pc:sldMk cId="255658505" sldId="613"/>
            <ac:spMk id="4" creationId="{00000000-0000-0000-0000-000000000000}"/>
          </ac:spMkLst>
        </pc:spChg>
        <pc:spChg chg="add del mod">
          <ac:chgData name="Hebel, Dirk" userId="be71dc4c-a1ab-4d0b-926c-9e6c8d0cf5b0" providerId="ADAL" clId="{7C525FD4-0803-4512-A428-64732F6C0BD2}" dt="2023-03-06T15:11:03.733" v="749" actId="478"/>
          <ac:spMkLst>
            <pc:docMk/>
            <pc:sldMk cId="255658505" sldId="613"/>
            <ac:spMk id="5" creationId="{62F98864-5FB3-A61F-2C44-1DDF0CBFC916}"/>
          </ac:spMkLst>
        </pc:spChg>
        <pc:spChg chg="add mod">
          <ac:chgData name="Hebel, Dirk" userId="be71dc4c-a1ab-4d0b-926c-9e6c8d0cf5b0" providerId="ADAL" clId="{7C525FD4-0803-4512-A428-64732F6C0BD2}" dt="2023-03-06T15:11:04.455" v="750"/>
          <ac:spMkLst>
            <pc:docMk/>
            <pc:sldMk cId="255658505" sldId="613"/>
            <ac:spMk id="6" creationId="{13B3AE08-A375-B95C-18A6-1C6B7D306BAE}"/>
          </ac:spMkLst>
        </pc:spChg>
        <pc:spChg chg="add del mod">
          <ac:chgData name="Hebel, Dirk" userId="be71dc4c-a1ab-4d0b-926c-9e6c8d0cf5b0" providerId="ADAL" clId="{7C525FD4-0803-4512-A428-64732F6C0BD2}" dt="2023-03-06T15:13:32.275" v="780" actId="255"/>
          <ac:spMkLst>
            <pc:docMk/>
            <pc:sldMk cId="255658505" sldId="613"/>
            <ac:spMk id="16" creationId="{0E004ACE-1C84-A644-96F5-ED02D3456C90}"/>
          </ac:spMkLst>
        </pc:spChg>
        <pc:spChg chg="add del mod">
          <ac:chgData name="Hebel, Dirk" userId="be71dc4c-a1ab-4d0b-926c-9e6c8d0cf5b0" providerId="ADAL" clId="{7C525FD4-0803-4512-A428-64732F6C0BD2}" dt="2023-03-06T15:13:32.275" v="780" actId="255"/>
          <ac:spMkLst>
            <pc:docMk/>
            <pc:sldMk cId="255658505" sldId="613"/>
            <ac:spMk id="19" creationId="{C2B1D1F1-9A85-DB46-A2AE-1098AAA2AF6B}"/>
          </ac:spMkLst>
        </pc:spChg>
        <pc:spChg chg="mod">
          <ac:chgData name="Hebel, Dirk" userId="be71dc4c-a1ab-4d0b-926c-9e6c8d0cf5b0" providerId="ADAL" clId="{7C525FD4-0803-4512-A428-64732F6C0BD2}" dt="2023-03-06T15:13:52.205" v="782" actId="255"/>
          <ac:spMkLst>
            <pc:docMk/>
            <pc:sldMk cId="255658505" sldId="613"/>
            <ac:spMk id="20" creationId="{A195008C-9BB1-004F-8852-94929A80759A}"/>
          </ac:spMkLst>
        </pc:spChg>
        <pc:spChg chg="mod">
          <ac:chgData name="Hebel, Dirk" userId="be71dc4c-a1ab-4d0b-926c-9e6c8d0cf5b0" providerId="ADAL" clId="{7C525FD4-0803-4512-A428-64732F6C0BD2}" dt="2023-03-06T15:13:52.205" v="782" actId="255"/>
          <ac:spMkLst>
            <pc:docMk/>
            <pc:sldMk cId="255658505" sldId="613"/>
            <ac:spMk id="21" creationId="{ED207231-5FD1-264E-A8E5-56757EC28C2B}"/>
          </ac:spMkLst>
        </pc:spChg>
        <pc:spChg chg="mod">
          <ac:chgData name="Hebel, Dirk" userId="be71dc4c-a1ab-4d0b-926c-9e6c8d0cf5b0" providerId="ADAL" clId="{7C525FD4-0803-4512-A428-64732F6C0BD2}" dt="2023-03-06T15:13:52.205" v="782" actId="255"/>
          <ac:spMkLst>
            <pc:docMk/>
            <pc:sldMk cId="255658505" sldId="613"/>
            <ac:spMk id="22" creationId="{3C39A54B-EB3F-D546-B725-810BF3E7E7CE}"/>
          </ac:spMkLst>
        </pc:spChg>
        <pc:spChg chg="add del mod">
          <ac:chgData name="Hebel, Dirk" userId="be71dc4c-a1ab-4d0b-926c-9e6c8d0cf5b0" providerId="ADAL" clId="{7C525FD4-0803-4512-A428-64732F6C0BD2}" dt="2023-03-06T15:13:32.275" v="780" actId="255"/>
          <ac:spMkLst>
            <pc:docMk/>
            <pc:sldMk cId="255658505" sldId="613"/>
            <ac:spMk id="23" creationId="{6C217929-B4CD-0A43-A9D7-621E76C8A896}"/>
          </ac:spMkLst>
        </pc:spChg>
        <pc:spChg chg="add del mod">
          <ac:chgData name="Hebel, Dirk" userId="be71dc4c-a1ab-4d0b-926c-9e6c8d0cf5b0" providerId="ADAL" clId="{7C525FD4-0803-4512-A428-64732F6C0BD2}" dt="2023-03-06T15:13:32.275" v="780" actId="255"/>
          <ac:spMkLst>
            <pc:docMk/>
            <pc:sldMk cId="255658505" sldId="613"/>
            <ac:spMk id="24" creationId="{D8DC6783-1C04-3C4E-856A-15BCBE9636D1}"/>
          </ac:spMkLst>
        </pc:spChg>
        <pc:spChg chg="add del mod">
          <ac:chgData name="Hebel, Dirk" userId="be71dc4c-a1ab-4d0b-926c-9e6c8d0cf5b0" providerId="ADAL" clId="{7C525FD4-0803-4512-A428-64732F6C0BD2}" dt="2023-03-06T15:13:32.275" v="780" actId="255"/>
          <ac:spMkLst>
            <pc:docMk/>
            <pc:sldMk cId="255658505" sldId="613"/>
            <ac:spMk id="26" creationId="{5FDCA6C1-CFCD-A549-BBD2-DDB7516CA15B}"/>
          </ac:spMkLst>
        </pc:spChg>
        <pc:spChg chg="add del mod">
          <ac:chgData name="Hebel, Dirk" userId="be71dc4c-a1ab-4d0b-926c-9e6c8d0cf5b0" providerId="ADAL" clId="{7C525FD4-0803-4512-A428-64732F6C0BD2}" dt="2023-03-06T15:13:32.275" v="780" actId="255"/>
          <ac:spMkLst>
            <pc:docMk/>
            <pc:sldMk cId="255658505" sldId="613"/>
            <ac:spMk id="29" creationId="{02BC1384-2B56-DC4F-BE8C-49033E3F02F2}"/>
          </ac:spMkLst>
        </pc:spChg>
      </pc:sldChg>
      <pc:sldChg chg="addSp delSp modSp add mod ord modClrScheme delAnim chgLayout modNotes">
        <pc:chgData name="Hebel, Dirk" userId="be71dc4c-a1ab-4d0b-926c-9e6c8d0cf5b0" providerId="ADAL" clId="{7C525FD4-0803-4512-A428-64732F6C0BD2}" dt="2023-03-06T15:21:24.095" v="1236" actId="14100"/>
        <pc:sldMkLst>
          <pc:docMk/>
          <pc:sldMk cId="3996737273" sldId="635"/>
        </pc:sldMkLst>
        <pc:spChg chg="add del mod ord">
          <ac:chgData name="Hebel, Dirk" userId="be71dc4c-a1ab-4d0b-926c-9e6c8d0cf5b0" providerId="ADAL" clId="{7C525FD4-0803-4512-A428-64732F6C0BD2}" dt="2023-03-06T14:43:20.704" v="230"/>
          <ac:spMkLst>
            <pc:docMk/>
            <pc:sldMk cId="3996737273" sldId="635"/>
            <ac:spMk id="2" creationId="{A0722093-A489-7ED7-AD8B-AF540850A811}"/>
          </ac:spMkLst>
        </pc:spChg>
        <pc:spChg chg="add del mod">
          <ac:chgData name="Hebel, Dirk" userId="be71dc4c-a1ab-4d0b-926c-9e6c8d0cf5b0" providerId="ADAL" clId="{7C525FD4-0803-4512-A428-64732F6C0BD2}" dt="2023-03-06T14:43:18.210" v="229"/>
          <ac:spMkLst>
            <pc:docMk/>
            <pc:sldMk cId="3996737273" sldId="635"/>
            <ac:spMk id="3" creationId="{A6E05C76-874B-35DD-5AF8-18C14683CEA9}"/>
          </ac:spMkLst>
        </pc:spChg>
        <pc:spChg chg="add del mod">
          <ac:chgData name="Hebel, Dirk" userId="be71dc4c-a1ab-4d0b-926c-9e6c8d0cf5b0" providerId="ADAL" clId="{7C525FD4-0803-4512-A428-64732F6C0BD2}" dt="2023-03-06T14:43:18.210" v="229"/>
          <ac:spMkLst>
            <pc:docMk/>
            <pc:sldMk cId="3996737273" sldId="635"/>
            <ac:spMk id="4" creationId="{3109A076-2752-381D-6AC2-FF69A7F80B38}"/>
          </ac:spMkLst>
        </pc:spChg>
        <pc:spChg chg="mod ord">
          <ac:chgData name="Hebel, Dirk" userId="be71dc4c-a1ab-4d0b-926c-9e6c8d0cf5b0" providerId="ADAL" clId="{7C525FD4-0803-4512-A428-64732F6C0BD2}" dt="2023-03-06T15:21:00.595" v="1233" actId="700"/>
          <ac:spMkLst>
            <pc:docMk/>
            <pc:sldMk cId="3996737273" sldId="635"/>
            <ac:spMk id="5" creationId="{00000000-0000-0000-0000-000000000000}"/>
          </ac:spMkLst>
        </pc:spChg>
        <pc:spChg chg="add del mod">
          <ac:chgData name="Hebel, Dirk" userId="be71dc4c-a1ab-4d0b-926c-9e6c8d0cf5b0" providerId="ADAL" clId="{7C525FD4-0803-4512-A428-64732F6C0BD2}" dt="2023-03-06T14:43:20.704" v="230"/>
          <ac:spMkLst>
            <pc:docMk/>
            <pc:sldMk cId="3996737273" sldId="635"/>
            <ac:spMk id="6" creationId="{08659FBD-182F-C0A9-9C06-5895370B4356}"/>
          </ac:spMkLst>
        </pc:spChg>
        <pc:spChg chg="add del mod ord">
          <ac:chgData name="Hebel, Dirk" userId="be71dc4c-a1ab-4d0b-926c-9e6c8d0cf5b0" providerId="ADAL" clId="{7C525FD4-0803-4512-A428-64732F6C0BD2}" dt="2023-03-06T14:43:24.428" v="231" actId="700"/>
          <ac:spMkLst>
            <pc:docMk/>
            <pc:sldMk cId="3996737273" sldId="635"/>
            <ac:spMk id="7" creationId="{5BC19CF1-A224-8B9A-3146-19F275673A1B}"/>
          </ac:spMkLst>
        </pc:spChg>
        <pc:spChg chg="add del mod ord">
          <ac:chgData name="Hebel, Dirk" userId="be71dc4c-a1ab-4d0b-926c-9e6c8d0cf5b0" providerId="ADAL" clId="{7C525FD4-0803-4512-A428-64732F6C0BD2}" dt="2023-03-06T14:43:40.895" v="237" actId="478"/>
          <ac:spMkLst>
            <pc:docMk/>
            <pc:sldMk cId="3996737273" sldId="635"/>
            <ac:spMk id="8" creationId="{8E62C90F-E191-A300-6F58-CE2F37EA3E9C}"/>
          </ac:spMkLst>
        </pc:spChg>
        <pc:spChg chg="mod">
          <ac:chgData name="Hebel, Dirk" userId="be71dc4c-a1ab-4d0b-926c-9e6c8d0cf5b0" providerId="ADAL" clId="{7C525FD4-0803-4512-A428-64732F6C0BD2}" dt="2023-03-06T15:21:24.095" v="1236" actId="14100"/>
          <ac:spMkLst>
            <pc:docMk/>
            <pc:sldMk cId="3996737273" sldId="635"/>
            <ac:spMk id="13" creationId="{2CCBBB94-6747-C64D-8625-B87CB48F217A}"/>
          </ac:spMkLst>
        </pc:spChg>
        <pc:spChg chg="add del mod">
          <ac:chgData name="Hebel, Dirk" userId="be71dc4c-a1ab-4d0b-926c-9e6c8d0cf5b0" providerId="ADAL" clId="{7C525FD4-0803-4512-A428-64732F6C0BD2}" dt="2023-03-06T15:20:54.493" v="1232"/>
          <ac:spMkLst>
            <pc:docMk/>
            <pc:sldMk cId="3996737273" sldId="635"/>
            <ac:spMk id="29" creationId="{F56D702E-6460-8AC8-E007-C7E2226EB92B}"/>
          </ac:spMkLst>
        </pc:spChg>
        <pc:spChg chg="add del mod ord">
          <ac:chgData name="Hebel, Dirk" userId="be71dc4c-a1ab-4d0b-926c-9e6c8d0cf5b0" providerId="ADAL" clId="{7C525FD4-0803-4512-A428-64732F6C0BD2}" dt="2023-03-06T15:21:00.595" v="1233" actId="700"/>
          <ac:spMkLst>
            <pc:docMk/>
            <pc:sldMk cId="3996737273" sldId="635"/>
            <ac:spMk id="30" creationId="{6D41D185-90B9-4D6D-65B7-81D3B86BDEE8}"/>
          </ac:spMkLst>
        </pc:spChg>
        <pc:spChg chg="add del mod ord">
          <ac:chgData name="Hebel, Dirk" userId="be71dc4c-a1ab-4d0b-926c-9e6c8d0cf5b0" providerId="ADAL" clId="{7C525FD4-0803-4512-A428-64732F6C0BD2}" dt="2023-03-06T15:21:03.849" v="1234" actId="478"/>
          <ac:spMkLst>
            <pc:docMk/>
            <pc:sldMk cId="3996737273" sldId="635"/>
            <ac:spMk id="31" creationId="{A675D64B-C32A-4893-BEA2-E43F700696C9}"/>
          </ac:spMkLst>
        </pc:spChg>
        <pc:spChg chg="add del mod ord">
          <ac:chgData name="Hebel, Dirk" userId="be71dc4c-a1ab-4d0b-926c-9e6c8d0cf5b0" providerId="ADAL" clId="{7C525FD4-0803-4512-A428-64732F6C0BD2}" dt="2023-03-06T15:21:03.849" v="1234" actId="478"/>
          <ac:spMkLst>
            <pc:docMk/>
            <pc:sldMk cId="3996737273" sldId="635"/>
            <ac:spMk id="32" creationId="{8A18A8ED-AFBF-2CF4-493E-677C74F32F3D}"/>
          </ac:spMkLst>
        </pc:spChg>
        <pc:grpChg chg="del mod">
          <ac:chgData name="Hebel, Dirk" userId="be71dc4c-a1ab-4d0b-926c-9e6c8d0cf5b0" providerId="ADAL" clId="{7C525FD4-0803-4512-A428-64732F6C0BD2}" dt="2023-03-06T14:55:37.242" v="555" actId="478"/>
          <ac:grpSpMkLst>
            <pc:docMk/>
            <pc:sldMk cId="3996737273" sldId="635"/>
            <ac:grpSpMk id="12" creationId="{29735C41-3C88-634D-9F36-DC6C011F130B}"/>
          </ac:grpSpMkLst>
        </pc:grpChg>
        <pc:grpChg chg="del mod">
          <ac:chgData name="Hebel, Dirk" userId="be71dc4c-a1ab-4d0b-926c-9e6c8d0cf5b0" providerId="ADAL" clId="{7C525FD4-0803-4512-A428-64732F6C0BD2}" dt="2023-03-06T14:55:37.242" v="555" actId="478"/>
          <ac:grpSpMkLst>
            <pc:docMk/>
            <pc:sldMk cId="3996737273" sldId="635"/>
            <ac:grpSpMk id="16" creationId="{FA3C5B06-6E1C-AD45-9B95-1E4D41D0DDBA}"/>
          </ac:grpSpMkLst>
        </pc:grpChg>
        <pc:grpChg chg="del mod">
          <ac:chgData name="Hebel, Dirk" userId="be71dc4c-a1ab-4d0b-926c-9e6c8d0cf5b0" providerId="ADAL" clId="{7C525FD4-0803-4512-A428-64732F6C0BD2}" dt="2023-03-06T14:55:32.116" v="554" actId="478"/>
          <ac:grpSpMkLst>
            <pc:docMk/>
            <pc:sldMk cId="3996737273" sldId="635"/>
            <ac:grpSpMk id="19" creationId="{4084D83A-AD2B-DC44-A7C3-66961CEE5EC2}"/>
          </ac:grpSpMkLst>
        </pc:grpChg>
        <pc:grpChg chg="del mod">
          <ac:chgData name="Hebel, Dirk" userId="be71dc4c-a1ab-4d0b-926c-9e6c8d0cf5b0" providerId="ADAL" clId="{7C525FD4-0803-4512-A428-64732F6C0BD2}" dt="2023-03-06T14:55:37.242" v="555" actId="478"/>
          <ac:grpSpMkLst>
            <pc:docMk/>
            <pc:sldMk cId="3996737273" sldId="635"/>
            <ac:grpSpMk id="20" creationId="{41FFD691-4B59-FC4D-B5F6-5C52CF7CD21B}"/>
          </ac:grpSpMkLst>
        </pc:grpChg>
        <pc:grpChg chg="del mod">
          <ac:chgData name="Hebel, Dirk" userId="be71dc4c-a1ab-4d0b-926c-9e6c8d0cf5b0" providerId="ADAL" clId="{7C525FD4-0803-4512-A428-64732F6C0BD2}" dt="2023-03-06T14:55:37.242" v="555" actId="478"/>
          <ac:grpSpMkLst>
            <pc:docMk/>
            <pc:sldMk cId="3996737273" sldId="635"/>
            <ac:grpSpMk id="23" creationId="{47D3746A-9C45-E04C-9D73-C364E9032A6F}"/>
          </ac:grpSpMkLst>
        </pc:grpChg>
        <pc:grpChg chg="del mod">
          <ac:chgData name="Hebel, Dirk" userId="be71dc4c-a1ab-4d0b-926c-9e6c8d0cf5b0" providerId="ADAL" clId="{7C525FD4-0803-4512-A428-64732F6C0BD2}" dt="2023-03-06T14:55:37.242" v="555" actId="478"/>
          <ac:grpSpMkLst>
            <pc:docMk/>
            <pc:sldMk cId="3996737273" sldId="635"/>
            <ac:grpSpMk id="26" creationId="{095ECF45-4927-7848-A706-FF78164F9059}"/>
          </ac:grpSpMkLst>
        </pc:grpChg>
      </pc:sldChg>
      <pc:sldChg chg="addSp delSp modSp add mod modNotes">
        <pc:chgData name="Hebel, Dirk" userId="be71dc4c-a1ab-4d0b-926c-9e6c8d0cf5b0" providerId="ADAL" clId="{7C525FD4-0803-4512-A428-64732F6C0BD2}" dt="2023-03-06T15:14:38.093" v="818" actId="14100"/>
        <pc:sldMkLst>
          <pc:docMk/>
          <pc:sldMk cId="2185778304" sldId="2147327001"/>
        </pc:sldMkLst>
        <pc:spChg chg="add del mod">
          <ac:chgData name="Hebel, Dirk" userId="be71dc4c-a1ab-4d0b-926c-9e6c8d0cf5b0" providerId="ADAL" clId="{7C525FD4-0803-4512-A428-64732F6C0BD2}" dt="2023-03-06T15:14:11.587" v="784"/>
          <ac:spMkLst>
            <pc:docMk/>
            <pc:sldMk cId="2185778304" sldId="2147327001"/>
            <ac:spMk id="2" creationId="{BD06278C-D0F8-26CE-8313-0BD76CF51920}"/>
          </ac:spMkLst>
        </pc:spChg>
        <pc:spChg chg="add del mod">
          <ac:chgData name="Hebel, Dirk" userId="be71dc4c-a1ab-4d0b-926c-9e6c8d0cf5b0" providerId="ADAL" clId="{7C525FD4-0803-4512-A428-64732F6C0BD2}" dt="2023-03-06T15:14:11.587" v="784"/>
          <ac:spMkLst>
            <pc:docMk/>
            <pc:sldMk cId="2185778304" sldId="2147327001"/>
            <ac:spMk id="3" creationId="{318EA697-A66B-7C90-DE8A-542CCC6B7068}"/>
          </ac:spMkLst>
        </pc:spChg>
        <pc:spChg chg="mod">
          <ac:chgData name="Hebel, Dirk" userId="be71dc4c-a1ab-4d0b-926c-9e6c8d0cf5b0" providerId="ADAL" clId="{7C525FD4-0803-4512-A428-64732F6C0BD2}" dt="2023-03-06T15:14:21.824" v="788" actId="6549"/>
          <ac:spMkLst>
            <pc:docMk/>
            <pc:sldMk cId="2185778304" sldId="2147327001"/>
            <ac:spMk id="4" creationId="{00000000-0000-0000-0000-000000000000}"/>
          </ac:spMkLst>
        </pc:spChg>
        <pc:spChg chg="mod">
          <ac:chgData name="Hebel, Dirk" userId="be71dc4c-a1ab-4d0b-926c-9e6c8d0cf5b0" providerId="ADAL" clId="{7C525FD4-0803-4512-A428-64732F6C0BD2}" dt="2023-03-06T15:14:38.093" v="818" actId="14100"/>
          <ac:spMkLst>
            <pc:docMk/>
            <pc:sldMk cId="2185778304" sldId="2147327001"/>
            <ac:spMk id="5" creationId="{00000000-0000-0000-0000-000000000000}"/>
          </ac:spMkLst>
        </pc:spChg>
      </pc:sldChg>
      <pc:sldChg chg="addSp delSp modSp add mod">
        <pc:chgData name="Hebel, Dirk" userId="be71dc4c-a1ab-4d0b-926c-9e6c8d0cf5b0" providerId="ADAL" clId="{7C525FD4-0803-4512-A428-64732F6C0BD2}" dt="2023-03-06T15:12:10.898" v="757" actId="478"/>
        <pc:sldMkLst>
          <pc:docMk/>
          <pc:sldMk cId="3992090400" sldId="2147327011"/>
        </pc:sldMkLst>
        <pc:spChg chg="mod">
          <ac:chgData name="Hebel, Dirk" userId="be71dc4c-a1ab-4d0b-926c-9e6c8d0cf5b0" providerId="ADAL" clId="{7C525FD4-0803-4512-A428-64732F6C0BD2}" dt="2023-03-06T15:11:31.787" v="752" actId="6549"/>
          <ac:spMkLst>
            <pc:docMk/>
            <pc:sldMk cId="3992090400" sldId="2147327011"/>
            <ac:spMk id="5" creationId="{00000000-0000-0000-0000-000000000000}"/>
          </ac:spMkLst>
        </pc:spChg>
        <pc:spChg chg="add del mod">
          <ac:chgData name="Hebel, Dirk" userId="be71dc4c-a1ab-4d0b-926c-9e6c8d0cf5b0" providerId="ADAL" clId="{7C525FD4-0803-4512-A428-64732F6C0BD2}" dt="2023-03-06T15:11:28.071" v="751"/>
          <ac:spMkLst>
            <pc:docMk/>
            <pc:sldMk cId="3992090400" sldId="2147327011"/>
            <ac:spMk id="7" creationId="{D5FA78FE-6F60-B73A-4BDF-A5ADF147826A}"/>
          </ac:spMkLst>
        </pc:spChg>
        <pc:spChg chg="add del mod">
          <ac:chgData name="Hebel, Dirk" userId="be71dc4c-a1ab-4d0b-926c-9e6c8d0cf5b0" providerId="ADAL" clId="{7C525FD4-0803-4512-A428-64732F6C0BD2}" dt="2023-03-06T15:12:10.898" v="757" actId="478"/>
          <ac:spMkLst>
            <pc:docMk/>
            <pc:sldMk cId="3992090400" sldId="2147327011"/>
            <ac:spMk id="8" creationId="{5FBC095F-3241-C767-B15C-E6876A4990D1}"/>
          </ac:spMkLst>
        </pc:spChg>
      </pc:sldChg>
      <pc:sldChg chg="addSp delSp modSp add mod">
        <pc:chgData name="Hebel, Dirk" userId="be71dc4c-a1ab-4d0b-926c-9e6c8d0cf5b0" providerId="ADAL" clId="{7C525FD4-0803-4512-A428-64732F6C0BD2}" dt="2023-03-06T15:12:09.586" v="756" actId="478"/>
        <pc:sldMkLst>
          <pc:docMk/>
          <pc:sldMk cId="4287940627" sldId="2147327012"/>
        </pc:sldMkLst>
        <pc:spChg chg="mod">
          <ac:chgData name="Hebel, Dirk" userId="be71dc4c-a1ab-4d0b-926c-9e6c8d0cf5b0" providerId="ADAL" clId="{7C525FD4-0803-4512-A428-64732F6C0BD2}" dt="2023-03-06T15:11:39.473" v="755" actId="6549"/>
          <ac:spMkLst>
            <pc:docMk/>
            <pc:sldMk cId="4287940627" sldId="2147327012"/>
            <ac:spMk id="5" creationId="{00000000-0000-0000-0000-000000000000}"/>
          </ac:spMkLst>
        </pc:spChg>
        <pc:spChg chg="add del mod">
          <ac:chgData name="Hebel, Dirk" userId="be71dc4c-a1ab-4d0b-926c-9e6c8d0cf5b0" providerId="ADAL" clId="{7C525FD4-0803-4512-A428-64732F6C0BD2}" dt="2023-03-06T15:11:35.461" v="753"/>
          <ac:spMkLst>
            <pc:docMk/>
            <pc:sldMk cId="4287940627" sldId="2147327012"/>
            <ac:spMk id="7" creationId="{F58AB2DF-2E34-4669-18F5-705C468D0E08}"/>
          </ac:spMkLst>
        </pc:spChg>
        <pc:spChg chg="add del mod">
          <ac:chgData name="Hebel, Dirk" userId="be71dc4c-a1ab-4d0b-926c-9e6c8d0cf5b0" providerId="ADAL" clId="{7C525FD4-0803-4512-A428-64732F6C0BD2}" dt="2023-03-06T15:12:09.586" v="756" actId="478"/>
          <ac:spMkLst>
            <pc:docMk/>
            <pc:sldMk cId="4287940627" sldId="2147327012"/>
            <ac:spMk id="8" creationId="{D1668983-6D09-0B46-C967-1BD793993C9F}"/>
          </ac:spMkLst>
        </pc:spChg>
      </pc:sldChg>
      <pc:sldChg chg="add del">
        <pc:chgData name="Hebel, Dirk" userId="be71dc4c-a1ab-4d0b-926c-9e6c8d0cf5b0" providerId="ADAL" clId="{7C525FD4-0803-4512-A428-64732F6C0BD2}" dt="2023-03-06T15:05:01.033" v="690" actId="47"/>
        <pc:sldMkLst>
          <pc:docMk/>
          <pc:sldMk cId="1299354245" sldId="2147327016"/>
        </pc:sldMkLst>
      </pc:sldChg>
      <pc:sldChg chg="add del">
        <pc:chgData name="Hebel, Dirk" userId="be71dc4c-a1ab-4d0b-926c-9e6c8d0cf5b0" providerId="ADAL" clId="{7C525FD4-0803-4512-A428-64732F6C0BD2}" dt="2023-03-06T15:05:02.229" v="691" actId="47"/>
        <pc:sldMkLst>
          <pc:docMk/>
          <pc:sldMk cId="3221709753" sldId="2147327017"/>
        </pc:sldMkLst>
      </pc:sldChg>
      <pc:sldChg chg="add del">
        <pc:chgData name="Hebel, Dirk" userId="be71dc4c-a1ab-4d0b-926c-9e6c8d0cf5b0" providerId="ADAL" clId="{7C525FD4-0803-4512-A428-64732F6C0BD2}" dt="2023-03-06T15:10:14.360" v="713" actId="47"/>
        <pc:sldMkLst>
          <pc:docMk/>
          <pc:sldMk cId="2309868944" sldId="2147327018"/>
        </pc:sldMkLst>
      </pc:sldChg>
      <pc:sldChg chg="add del">
        <pc:chgData name="Hebel, Dirk" userId="be71dc4c-a1ab-4d0b-926c-9e6c8d0cf5b0" providerId="ADAL" clId="{7C525FD4-0803-4512-A428-64732F6C0BD2}" dt="2023-03-06T15:04:58.920" v="689" actId="47"/>
        <pc:sldMkLst>
          <pc:docMk/>
          <pc:sldMk cId="2353454653" sldId="2147327029"/>
        </pc:sldMkLst>
      </pc:sldChg>
      <pc:sldChg chg="addSp delSp modSp add del mod">
        <pc:chgData name="Hebel, Dirk" userId="be71dc4c-a1ab-4d0b-926c-9e6c8d0cf5b0" providerId="ADAL" clId="{7C525FD4-0803-4512-A428-64732F6C0BD2}" dt="2023-03-06T15:00:27.082" v="577" actId="47"/>
        <pc:sldMkLst>
          <pc:docMk/>
          <pc:sldMk cId="3488844870" sldId="2147327030"/>
        </pc:sldMkLst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2" creationId="{76B85400-C87D-DE89-3E4E-DA22B8B96DE4}"/>
          </ac:spMkLst>
        </pc:spChg>
        <pc:spChg chg="mod">
          <ac:chgData name="Hebel, Dirk" userId="be71dc4c-a1ab-4d0b-926c-9e6c8d0cf5b0" providerId="ADAL" clId="{7C525FD4-0803-4512-A428-64732F6C0BD2}" dt="2023-03-06T14:57:27.762" v="570" actId="20577"/>
          <ac:spMkLst>
            <pc:docMk/>
            <pc:sldMk cId="3488844870" sldId="2147327030"/>
            <ac:spMk id="3" creationId="{705C4483-C2E6-8F25-B10C-A971AF2FA18A}"/>
          </ac:spMkLst>
        </pc:spChg>
        <pc:spChg chg="add del mod">
          <ac:chgData name="Hebel, Dirk" userId="be71dc4c-a1ab-4d0b-926c-9e6c8d0cf5b0" providerId="ADAL" clId="{7C525FD4-0803-4512-A428-64732F6C0BD2}" dt="2023-03-06T14:57:18.132" v="565"/>
          <ac:spMkLst>
            <pc:docMk/>
            <pc:sldMk cId="3488844870" sldId="2147327030"/>
            <ac:spMk id="5" creationId="{A5FF89BA-5F66-4D09-9794-B1AA193537D0}"/>
          </ac:spMkLst>
        </pc:spChg>
        <pc:spChg chg="add del mod">
          <ac:chgData name="Hebel, Dirk" userId="be71dc4c-a1ab-4d0b-926c-9e6c8d0cf5b0" providerId="ADAL" clId="{7C525FD4-0803-4512-A428-64732F6C0BD2}" dt="2023-03-06T14:57:21.421" v="566" actId="478"/>
          <ac:spMkLst>
            <pc:docMk/>
            <pc:sldMk cId="3488844870" sldId="2147327030"/>
            <ac:spMk id="6" creationId="{FECF9A7E-0669-10DF-6175-67580D02EE8C}"/>
          </ac:spMkLst>
        </pc:spChg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7" creationId="{0E8FD7E8-BED1-8BF8-E79E-F25511E1C2A2}"/>
          </ac:spMkLst>
        </pc:spChg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14" creationId="{DE78FC0E-F15B-69CE-304E-0065A7A8B35E}"/>
          </ac:spMkLst>
        </pc:spChg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15" creationId="{4EE6A55F-88BD-C14A-F66D-60B65BDBDBB5}"/>
          </ac:spMkLst>
        </pc:spChg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16" creationId="{C41E33EF-7E60-CD29-2B8F-2DC385E502AB}"/>
          </ac:spMkLst>
        </pc:spChg>
        <pc:spChg chg="mod">
          <ac:chgData name="Hebel, Dirk" userId="be71dc4c-a1ab-4d0b-926c-9e6c8d0cf5b0" providerId="ADAL" clId="{7C525FD4-0803-4512-A428-64732F6C0BD2}" dt="2023-03-06T14:57:10.912" v="564" actId="6549"/>
          <ac:spMkLst>
            <pc:docMk/>
            <pc:sldMk cId="3488844870" sldId="2147327030"/>
            <ac:spMk id="17" creationId="{C29F7657-221C-7D13-A7E8-03340C4B4FAE}"/>
          </ac:spMkLst>
        </pc:spChg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24" creationId="{919061B4-8E58-4D1D-4BB4-BAD01A091A90}"/>
          </ac:spMkLst>
        </pc:spChg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28" creationId="{1C1F7AB6-9705-3A12-DD09-16921748F324}"/>
          </ac:spMkLst>
        </pc:spChg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29" creationId="{6E3DEDA8-1DC4-CB58-7C9C-4AC8B5D68F92}"/>
          </ac:spMkLst>
        </pc:spChg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30" creationId="{799E096B-88FE-331F-9447-AF813584812B}"/>
          </ac:spMkLst>
        </pc:spChg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31" creationId="{B7F9148A-4D99-0D5C-B197-0456991E28FD}"/>
          </ac:spMkLst>
        </pc:spChg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32" creationId="{9E1EF55B-8BB0-145E-9E25-1D27DD7C50DF}"/>
          </ac:spMkLst>
        </pc:spChg>
      </pc:sldChg>
      <pc:sldChg chg="modSp add mod modShow">
        <pc:chgData name="Hebel, Dirk" userId="be71dc4c-a1ab-4d0b-926c-9e6c8d0cf5b0" providerId="ADAL" clId="{7C525FD4-0803-4512-A428-64732F6C0BD2}" dt="2023-03-06T15:14:49.096" v="847" actId="1035"/>
        <pc:sldMkLst>
          <pc:docMk/>
          <pc:sldMk cId="1072361869" sldId="2147327047"/>
        </pc:sldMkLst>
        <pc:spChg chg="mod">
          <ac:chgData name="Hebel, Dirk" userId="be71dc4c-a1ab-4d0b-926c-9e6c8d0cf5b0" providerId="ADAL" clId="{7C525FD4-0803-4512-A428-64732F6C0BD2}" dt="2023-03-06T14:30:43.042" v="172" actId="27636"/>
          <ac:spMkLst>
            <pc:docMk/>
            <pc:sldMk cId="1072361869" sldId="2147327047"/>
            <ac:spMk id="5" creationId="{00000000-0000-0000-0000-000000000000}"/>
          </ac:spMkLst>
        </pc:spChg>
        <pc:picChg chg="mod">
          <ac:chgData name="Hebel, Dirk" userId="be71dc4c-a1ab-4d0b-926c-9e6c8d0cf5b0" providerId="ADAL" clId="{7C525FD4-0803-4512-A428-64732F6C0BD2}" dt="2023-03-06T15:14:49.096" v="847" actId="1035"/>
          <ac:picMkLst>
            <pc:docMk/>
            <pc:sldMk cId="1072361869" sldId="2147327047"/>
            <ac:picMk id="32" creationId="{750E15EC-FC98-AD2A-1AD4-956C8C5EB721}"/>
          </ac:picMkLst>
        </pc:picChg>
      </pc:sldChg>
      <pc:sldChg chg="addSp modSp add mod">
        <pc:chgData name="Hebel, Dirk" userId="be71dc4c-a1ab-4d0b-926c-9e6c8d0cf5b0" providerId="ADAL" clId="{7C525FD4-0803-4512-A428-64732F6C0BD2}" dt="2023-03-06T15:17:31.192" v="888" actId="1076"/>
        <pc:sldMkLst>
          <pc:docMk/>
          <pc:sldMk cId="3052081886" sldId="2147327048"/>
        </pc:sldMkLst>
        <pc:spChg chg="add mod">
          <ac:chgData name="Hebel, Dirk" userId="be71dc4c-a1ab-4d0b-926c-9e6c8d0cf5b0" providerId="ADAL" clId="{7C525FD4-0803-4512-A428-64732F6C0BD2}" dt="2023-03-06T15:16:04.710" v="864" actId="14100"/>
          <ac:spMkLst>
            <pc:docMk/>
            <pc:sldMk cId="3052081886" sldId="2147327048"/>
            <ac:spMk id="7" creationId="{313D312D-8431-203A-802B-62830A01DC92}"/>
          </ac:spMkLst>
        </pc:spChg>
        <pc:spChg chg="add mod">
          <ac:chgData name="Hebel, Dirk" userId="be71dc4c-a1ab-4d0b-926c-9e6c8d0cf5b0" providerId="ADAL" clId="{7C525FD4-0803-4512-A428-64732F6C0BD2}" dt="2023-03-06T15:16:35.389" v="872" actId="14100"/>
          <ac:spMkLst>
            <pc:docMk/>
            <pc:sldMk cId="3052081886" sldId="2147327048"/>
            <ac:spMk id="25" creationId="{7CFED8C1-F5C1-5788-3C4E-F0779E7157B0}"/>
          </ac:spMkLst>
        </pc:spChg>
        <pc:spChg chg="add mod">
          <ac:chgData name="Hebel, Dirk" userId="be71dc4c-a1ab-4d0b-926c-9e6c8d0cf5b0" providerId="ADAL" clId="{7C525FD4-0803-4512-A428-64732F6C0BD2}" dt="2023-03-06T15:16:43.694" v="874" actId="1076"/>
          <ac:spMkLst>
            <pc:docMk/>
            <pc:sldMk cId="3052081886" sldId="2147327048"/>
            <ac:spMk id="30" creationId="{99F259F1-9959-81AB-EF3D-78A805DC180E}"/>
          </ac:spMkLst>
        </pc:spChg>
        <pc:spChg chg="add mod">
          <ac:chgData name="Hebel, Dirk" userId="be71dc4c-a1ab-4d0b-926c-9e6c8d0cf5b0" providerId="ADAL" clId="{7C525FD4-0803-4512-A428-64732F6C0BD2}" dt="2023-03-06T15:17:05.871" v="880" actId="14100"/>
          <ac:spMkLst>
            <pc:docMk/>
            <pc:sldMk cId="3052081886" sldId="2147327048"/>
            <ac:spMk id="31" creationId="{4B57DDFD-64DE-3B87-D317-AA41F8A0D1FE}"/>
          </ac:spMkLst>
        </pc:spChg>
        <pc:spChg chg="add mod">
          <ac:chgData name="Hebel, Dirk" userId="be71dc4c-a1ab-4d0b-926c-9e6c8d0cf5b0" providerId="ADAL" clId="{7C525FD4-0803-4512-A428-64732F6C0BD2}" dt="2023-03-06T15:17:02.585" v="879" actId="14100"/>
          <ac:spMkLst>
            <pc:docMk/>
            <pc:sldMk cId="3052081886" sldId="2147327048"/>
            <ac:spMk id="32" creationId="{71D3C749-B0E3-009E-9366-21C5566B8300}"/>
          </ac:spMkLst>
        </pc:spChg>
        <pc:spChg chg="add mod">
          <ac:chgData name="Hebel, Dirk" userId="be71dc4c-a1ab-4d0b-926c-9e6c8d0cf5b0" providerId="ADAL" clId="{7C525FD4-0803-4512-A428-64732F6C0BD2}" dt="2023-03-06T15:17:14.474" v="882" actId="1076"/>
          <ac:spMkLst>
            <pc:docMk/>
            <pc:sldMk cId="3052081886" sldId="2147327048"/>
            <ac:spMk id="33" creationId="{461CBFF4-3944-2C67-C573-41114666C351}"/>
          </ac:spMkLst>
        </pc:spChg>
        <pc:spChg chg="add mod">
          <ac:chgData name="Hebel, Dirk" userId="be71dc4c-a1ab-4d0b-926c-9e6c8d0cf5b0" providerId="ADAL" clId="{7C525FD4-0803-4512-A428-64732F6C0BD2}" dt="2023-03-06T15:17:18.374" v="884" actId="1076"/>
          <ac:spMkLst>
            <pc:docMk/>
            <pc:sldMk cId="3052081886" sldId="2147327048"/>
            <ac:spMk id="34" creationId="{421704B5-8585-E55E-1CDF-36EC0926D054}"/>
          </ac:spMkLst>
        </pc:spChg>
        <pc:spChg chg="add mod">
          <ac:chgData name="Hebel, Dirk" userId="be71dc4c-a1ab-4d0b-926c-9e6c8d0cf5b0" providerId="ADAL" clId="{7C525FD4-0803-4512-A428-64732F6C0BD2}" dt="2023-03-06T15:17:22.802" v="886" actId="1076"/>
          <ac:spMkLst>
            <pc:docMk/>
            <pc:sldMk cId="3052081886" sldId="2147327048"/>
            <ac:spMk id="35" creationId="{C9F13B3A-0B98-6915-6BD2-05DC70EA0492}"/>
          </ac:spMkLst>
        </pc:spChg>
        <pc:spChg chg="add mod">
          <ac:chgData name="Hebel, Dirk" userId="be71dc4c-a1ab-4d0b-926c-9e6c8d0cf5b0" providerId="ADAL" clId="{7C525FD4-0803-4512-A428-64732F6C0BD2}" dt="2023-03-06T15:17:31.192" v="888" actId="1076"/>
          <ac:spMkLst>
            <pc:docMk/>
            <pc:sldMk cId="3052081886" sldId="2147327048"/>
            <ac:spMk id="36" creationId="{B89C29D8-AA5C-19C8-DE38-28857A36D55A}"/>
          </ac:spMkLst>
        </pc:spChg>
      </pc:sldChg>
      <pc:sldChg chg="addSp modSp add mod">
        <pc:chgData name="Hebel, Dirk" userId="be71dc4c-a1ab-4d0b-926c-9e6c8d0cf5b0" providerId="ADAL" clId="{7C525FD4-0803-4512-A428-64732F6C0BD2}" dt="2023-03-06T15:15:37.099" v="860" actId="1076"/>
        <pc:sldMkLst>
          <pc:docMk/>
          <pc:sldMk cId="3661002907" sldId="2147327049"/>
        </pc:sldMkLst>
        <pc:spChg chg="add mod">
          <ac:chgData name="Hebel, Dirk" userId="be71dc4c-a1ab-4d0b-926c-9e6c8d0cf5b0" providerId="ADAL" clId="{7C525FD4-0803-4512-A428-64732F6C0BD2}" dt="2023-03-06T15:15:18.205" v="851" actId="14100"/>
          <ac:spMkLst>
            <pc:docMk/>
            <pc:sldMk cId="3661002907" sldId="2147327049"/>
            <ac:spMk id="2" creationId="{63B9225A-8112-4EC8-8C1C-05AE09063EB7}"/>
          </ac:spMkLst>
        </pc:spChg>
        <pc:spChg chg="add mod">
          <ac:chgData name="Hebel, Dirk" userId="be71dc4c-a1ab-4d0b-926c-9e6c8d0cf5b0" providerId="ADAL" clId="{7C525FD4-0803-4512-A428-64732F6C0BD2}" dt="2023-03-06T15:15:28.502" v="856" actId="1036"/>
          <ac:spMkLst>
            <pc:docMk/>
            <pc:sldMk cId="3661002907" sldId="2147327049"/>
            <ac:spMk id="7" creationId="{450ACD77-3531-06CD-3647-35FA27032062}"/>
          </ac:spMkLst>
        </pc:spChg>
        <pc:spChg chg="add mod">
          <ac:chgData name="Hebel, Dirk" userId="be71dc4c-a1ab-4d0b-926c-9e6c8d0cf5b0" providerId="ADAL" clId="{7C525FD4-0803-4512-A428-64732F6C0BD2}" dt="2023-03-06T15:15:32.581" v="858" actId="1076"/>
          <ac:spMkLst>
            <pc:docMk/>
            <pc:sldMk cId="3661002907" sldId="2147327049"/>
            <ac:spMk id="30" creationId="{0DE9F5F2-9424-67F6-AA9C-3723787D323F}"/>
          </ac:spMkLst>
        </pc:spChg>
        <pc:spChg chg="add mod">
          <ac:chgData name="Hebel, Dirk" userId="be71dc4c-a1ab-4d0b-926c-9e6c8d0cf5b0" providerId="ADAL" clId="{7C525FD4-0803-4512-A428-64732F6C0BD2}" dt="2023-03-06T15:15:37.099" v="860" actId="1076"/>
          <ac:spMkLst>
            <pc:docMk/>
            <pc:sldMk cId="3661002907" sldId="2147327049"/>
            <ac:spMk id="31" creationId="{FEEC01A7-D4DE-3FAE-ECA3-9BE2E49DE603}"/>
          </ac:spMkLst>
        </pc:spChg>
      </pc:sldChg>
      <pc:sldChg chg="add mod modShow">
        <pc:chgData name="Hebel, Dirk" userId="be71dc4c-a1ab-4d0b-926c-9e6c8d0cf5b0" providerId="ADAL" clId="{7C525FD4-0803-4512-A428-64732F6C0BD2}" dt="2023-03-06T15:03:03.485" v="640" actId="729"/>
        <pc:sldMkLst>
          <pc:docMk/>
          <pc:sldMk cId="3422717109" sldId="2147327050"/>
        </pc:sldMkLst>
      </pc:sldChg>
      <pc:sldChg chg="add">
        <pc:chgData name="Hebel, Dirk" userId="be71dc4c-a1ab-4d0b-926c-9e6c8d0cf5b0" providerId="ADAL" clId="{7C525FD4-0803-4512-A428-64732F6C0BD2}" dt="2023-03-06T14:30:42.970" v="169"/>
        <pc:sldMkLst>
          <pc:docMk/>
          <pc:sldMk cId="358177723" sldId="2147327054"/>
        </pc:sldMkLst>
      </pc:sldChg>
      <pc:sldChg chg="addSp delSp modSp add mod ord modClrScheme chgLayout">
        <pc:chgData name="Hebel, Dirk" userId="be71dc4c-a1ab-4d0b-926c-9e6c8d0cf5b0" providerId="ADAL" clId="{7C525FD4-0803-4512-A428-64732F6C0BD2}" dt="2023-03-06T15:21:12.746" v="1235" actId="108"/>
        <pc:sldMkLst>
          <pc:docMk/>
          <pc:sldMk cId="3419914217" sldId="2147327073"/>
        </pc:sldMkLst>
        <pc:spChg chg="mod ord">
          <ac:chgData name="Hebel, Dirk" userId="be71dc4c-a1ab-4d0b-926c-9e6c8d0cf5b0" providerId="ADAL" clId="{7C525FD4-0803-4512-A428-64732F6C0BD2}" dt="2023-03-06T15:20:50.649" v="1230" actId="700"/>
          <ac:spMkLst>
            <pc:docMk/>
            <pc:sldMk cId="3419914217" sldId="2147327073"/>
            <ac:spMk id="3" creationId="{D4292FD7-3DC3-3234-B85E-F74BF13921ED}"/>
          </ac:spMkLst>
        </pc:spChg>
        <pc:spChg chg="mod">
          <ac:chgData name="Hebel, Dirk" userId="be71dc4c-a1ab-4d0b-926c-9e6c8d0cf5b0" providerId="ADAL" clId="{7C525FD4-0803-4512-A428-64732F6C0BD2}" dt="2023-03-06T15:21:12.746" v="1235" actId="108"/>
          <ac:spMkLst>
            <pc:docMk/>
            <pc:sldMk cId="3419914217" sldId="2147327073"/>
            <ac:spMk id="4" creationId="{E5575E41-AC11-8682-9954-287A8E5CE791}"/>
          </ac:spMkLst>
        </pc:spChg>
        <pc:spChg chg="add del mod ord">
          <ac:chgData name="Hebel, Dirk" userId="be71dc4c-a1ab-4d0b-926c-9e6c8d0cf5b0" providerId="ADAL" clId="{7C525FD4-0803-4512-A428-64732F6C0BD2}" dt="2023-03-06T14:32:47.346" v="195" actId="700"/>
          <ac:spMkLst>
            <pc:docMk/>
            <pc:sldMk cId="3419914217" sldId="2147327073"/>
            <ac:spMk id="5" creationId="{5664128A-1C9B-8E22-376B-999CBBAC6469}"/>
          </ac:spMkLst>
        </pc:spChg>
        <pc:spChg chg="add del mod ord">
          <ac:chgData name="Hebel, Dirk" userId="be71dc4c-a1ab-4d0b-926c-9e6c8d0cf5b0" providerId="ADAL" clId="{7C525FD4-0803-4512-A428-64732F6C0BD2}" dt="2023-03-06T14:32:51.005" v="196" actId="478"/>
          <ac:spMkLst>
            <pc:docMk/>
            <pc:sldMk cId="3419914217" sldId="2147327073"/>
            <ac:spMk id="6" creationId="{E78BAF8F-3290-3B38-B0BF-6111A37698DB}"/>
          </ac:spMkLst>
        </pc:spChg>
        <pc:spChg chg="mod">
          <ac:chgData name="Hebel, Dirk" userId="be71dc4c-a1ab-4d0b-926c-9e6c8d0cf5b0" providerId="ADAL" clId="{7C525FD4-0803-4512-A428-64732F6C0BD2}" dt="2023-03-06T14:39:17.991" v="221" actId="404"/>
          <ac:spMkLst>
            <pc:docMk/>
            <pc:sldMk cId="3419914217" sldId="2147327073"/>
            <ac:spMk id="7" creationId="{C44A0136-6913-3616-3E0C-5DD5A7B99916}"/>
          </ac:spMkLst>
        </pc:spChg>
        <pc:spChg chg="mod">
          <ac:chgData name="Hebel, Dirk" userId="be71dc4c-a1ab-4d0b-926c-9e6c8d0cf5b0" providerId="ADAL" clId="{7C525FD4-0803-4512-A428-64732F6C0BD2}" dt="2023-03-06T14:39:17.991" v="221" actId="404"/>
          <ac:spMkLst>
            <pc:docMk/>
            <pc:sldMk cId="3419914217" sldId="2147327073"/>
            <ac:spMk id="8" creationId="{8752D50C-0EC6-898B-1472-06E362D374B6}"/>
          </ac:spMkLst>
        </pc:spChg>
        <pc:spChg chg="add del mod ord">
          <ac:chgData name="Hebel, Dirk" userId="be71dc4c-a1ab-4d0b-926c-9e6c8d0cf5b0" providerId="ADAL" clId="{7C525FD4-0803-4512-A428-64732F6C0BD2}" dt="2023-03-06T14:32:51.005" v="196" actId="478"/>
          <ac:spMkLst>
            <pc:docMk/>
            <pc:sldMk cId="3419914217" sldId="2147327073"/>
            <ac:spMk id="9" creationId="{EE66DB7B-DDA4-48C5-5B53-CD16AA56A366}"/>
          </ac:spMkLst>
        </pc:spChg>
        <pc:spChg chg="mod">
          <ac:chgData name="Hebel, Dirk" userId="be71dc4c-a1ab-4d0b-926c-9e6c8d0cf5b0" providerId="ADAL" clId="{7C525FD4-0803-4512-A428-64732F6C0BD2}" dt="2023-03-06T14:39:17.991" v="221" actId="404"/>
          <ac:spMkLst>
            <pc:docMk/>
            <pc:sldMk cId="3419914217" sldId="2147327073"/>
            <ac:spMk id="12" creationId="{4A6B5029-8573-7324-DF1F-0126AAD80A6C}"/>
          </ac:spMkLst>
        </pc:spChg>
        <pc:spChg chg="mod">
          <ac:chgData name="Hebel, Dirk" userId="be71dc4c-a1ab-4d0b-926c-9e6c8d0cf5b0" providerId="ADAL" clId="{7C525FD4-0803-4512-A428-64732F6C0BD2}" dt="2023-03-06T14:39:27.607" v="223" actId="14100"/>
          <ac:spMkLst>
            <pc:docMk/>
            <pc:sldMk cId="3419914217" sldId="2147327073"/>
            <ac:spMk id="15" creationId="{50E2DEF8-197E-1727-A121-9F1EF2E3ADD4}"/>
          </ac:spMkLst>
        </pc:spChg>
        <pc:spChg chg="mod">
          <ac:chgData name="Hebel, Dirk" userId="be71dc4c-a1ab-4d0b-926c-9e6c8d0cf5b0" providerId="ADAL" clId="{7C525FD4-0803-4512-A428-64732F6C0BD2}" dt="2023-03-06T14:39:17.991" v="221" actId="404"/>
          <ac:spMkLst>
            <pc:docMk/>
            <pc:sldMk cId="3419914217" sldId="2147327073"/>
            <ac:spMk id="16" creationId="{2D7FEA3C-F330-90A2-9477-9CA2DEDAA75D}"/>
          </ac:spMkLst>
        </pc:spChg>
        <pc:spChg chg="add del mod">
          <ac:chgData name="Hebel, Dirk" userId="be71dc4c-a1ab-4d0b-926c-9e6c8d0cf5b0" providerId="ADAL" clId="{7C525FD4-0803-4512-A428-64732F6C0BD2}" dt="2023-03-06T15:20:39.979" v="1228"/>
          <ac:spMkLst>
            <pc:docMk/>
            <pc:sldMk cId="3419914217" sldId="2147327073"/>
            <ac:spMk id="20" creationId="{1D7E098A-53A2-697D-E969-F7B21679497C}"/>
          </ac:spMkLst>
        </pc:spChg>
        <pc:spChg chg="add del mod">
          <ac:chgData name="Hebel, Dirk" userId="be71dc4c-a1ab-4d0b-926c-9e6c8d0cf5b0" providerId="ADAL" clId="{7C525FD4-0803-4512-A428-64732F6C0BD2}" dt="2023-03-06T15:20:43.494" v="1229" actId="478"/>
          <ac:spMkLst>
            <pc:docMk/>
            <pc:sldMk cId="3419914217" sldId="2147327073"/>
            <ac:spMk id="21" creationId="{12DAA07A-7B33-12B5-3129-3EF5676372E6}"/>
          </ac:spMkLst>
        </pc:spChg>
        <pc:spChg chg="add del mod">
          <ac:chgData name="Hebel, Dirk" userId="be71dc4c-a1ab-4d0b-926c-9e6c8d0cf5b0" providerId="ADAL" clId="{7C525FD4-0803-4512-A428-64732F6C0BD2}" dt="2023-03-06T15:20:43.494" v="1229" actId="478"/>
          <ac:spMkLst>
            <pc:docMk/>
            <pc:sldMk cId="3419914217" sldId="2147327073"/>
            <ac:spMk id="22" creationId="{76C4BD78-DC1E-FB72-AFE4-5AEBB13D199A}"/>
          </ac:spMkLst>
        </pc:spChg>
        <pc:spChg chg="add del mod ord">
          <ac:chgData name="Hebel, Dirk" userId="be71dc4c-a1ab-4d0b-926c-9e6c8d0cf5b0" providerId="ADAL" clId="{7C525FD4-0803-4512-A428-64732F6C0BD2}" dt="2023-03-06T15:20:52.385" v="1231" actId="478"/>
          <ac:spMkLst>
            <pc:docMk/>
            <pc:sldMk cId="3419914217" sldId="2147327073"/>
            <ac:spMk id="23" creationId="{47330EB9-DAB8-D908-3FCF-87A3A8BBB19E}"/>
          </ac:spMkLst>
        </pc:spChg>
        <pc:picChg chg="del">
          <ac:chgData name="Hebel, Dirk" userId="be71dc4c-a1ab-4d0b-926c-9e6c8d0cf5b0" providerId="ADAL" clId="{7C525FD4-0803-4512-A428-64732F6C0BD2}" dt="2023-03-06T14:39:04.560" v="219" actId="478"/>
          <ac:picMkLst>
            <pc:docMk/>
            <pc:sldMk cId="3419914217" sldId="2147327073"/>
            <ac:picMk id="2" creationId="{DA6CA374-9BC1-AD3C-8F2F-030D3E71FC62}"/>
          </ac:picMkLst>
        </pc:picChg>
        <pc:picChg chg="mod">
          <ac:chgData name="Hebel, Dirk" userId="be71dc4c-a1ab-4d0b-926c-9e6c8d0cf5b0" providerId="ADAL" clId="{7C525FD4-0803-4512-A428-64732F6C0BD2}" dt="2023-03-06T14:38:56.085" v="217" actId="14100"/>
          <ac:picMkLst>
            <pc:docMk/>
            <pc:sldMk cId="3419914217" sldId="2147327073"/>
            <ac:picMk id="13" creationId="{C0F1CF12-FACB-B0B7-FCBC-767E4F1BABA6}"/>
          </ac:picMkLst>
        </pc:picChg>
        <pc:picChg chg="mod">
          <ac:chgData name="Hebel, Dirk" userId="be71dc4c-a1ab-4d0b-926c-9e6c8d0cf5b0" providerId="ADAL" clId="{7C525FD4-0803-4512-A428-64732F6C0BD2}" dt="2023-03-06T14:38:59.698" v="218" actId="14100"/>
          <ac:picMkLst>
            <pc:docMk/>
            <pc:sldMk cId="3419914217" sldId="2147327073"/>
            <ac:picMk id="18" creationId="{A9CDD9BA-FBC4-FBF2-BA9B-B7BC3EDC316E}"/>
          </ac:picMkLst>
        </pc:picChg>
      </pc:sldChg>
      <pc:sldChg chg="addSp modSp add mod">
        <pc:chgData name="Hebel, Dirk" userId="be71dc4c-a1ab-4d0b-926c-9e6c8d0cf5b0" providerId="ADAL" clId="{7C525FD4-0803-4512-A428-64732F6C0BD2}" dt="2023-03-06T15:16:13.026" v="869" actId="20577"/>
        <pc:sldMkLst>
          <pc:docMk/>
          <pc:sldMk cId="2198619011" sldId="2147327074"/>
        </pc:sldMkLst>
        <pc:spChg chg="add mod">
          <ac:chgData name="Hebel, Dirk" userId="be71dc4c-a1ab-4d0b-926c-9e6c8d0cf5b0" providerId="ADAL" clId="{7C525FD4-0803-4512-A428-64732F6C0BD2}" dt="2023-03-06T15:02:41.899" v="639" actId="14100"/>
          <ac:spMkLst>
            <pc:docMk/>
            <pc:sldMk cId="2198619011" sldId="2147327074"/>
            <ac:spMk id="2" creationId="{D9A52694-112E-AE24-BF2C-7DBC9084192F}"/>
          </ac:spMkLst>
        </pc:spChg>
        <pc:spChg chg="mod">
          <ac:chgData name="Hebel, Dirk" userId="be71dc4c-a1ab-4d0b-926c-9e6c8d0cf5b0" providerId="ADAL" clId="{7C525FD4-0803-4512-A428-64732F6C0BD2}" dt="2023-03-06T14:33:05.610" v="201" actId="20577"/>
          <ac:spMkLst>
            <pc:docMk/>
            <pc:sldMk cId="2198619011" sldId="2147327074"/>
            <ac:spMk id="4" creationId="{E5575E41-AC11-8682-9954-287A8E5CE791}"/>
          </ac:spMkLst>
        </pc:spChg>
        <pc:spChg chg="add mod">
          <ac:chgData name="Hebel, Dirk" userId="be71dc4c-a1ab-4d0b-926c-9e6c8d0cf5b0" providerId="ADAL" clId="{7C525FD4-0803-4512-A428-64732F6C0BD2}" dt="2023-03-06T15:16:13.026" v="869" actId="20577"/>
          <ac:spMkLst>
            <pc:docMk/>
            <pc:sldMk cId="2198619011" sldId="2147327074"/>
            <ac:spMk id="7" creationId="{C8DF6F05-A130-A99D-2CF6-52531B342EA1}"/>
          </ac:spMkLst>
        </pc:spChg>
        <pc:spChg chg="add mod">
          <ac:chgData name="Hebel, Dirk" userId="be71dc4c-a1ab-4d0b-926c-9e6c8d0cf5b0" providerId="ADAL" clId="{7C525FD4-0803-4512-A428-64732F6C0BD2}" dt="2023-03-06T15:04:31.246" v="681" actId="14100"/>
          <ac:spMkLst>
            <pc:docMk/>
            <pc:sldMk cId="2198619011" sldId="2147327074"/>
            <ac:spMk id="8" creationId="{9A6BD83F-C660-BFDA-6F57-DACEAA27AD6B}"/>
          </ac:spMkLst>
        </pc:spChg>
        <pc:spChg chg="add mod">
          <ac:chgData name="Hebel, Dirk" userId="be71dc4c-a1ab-4d0b-926c-9e6c8d0cf5b0" providerId="ADAL" clId="{7C525FD4-0803-4512-A428-64732F6C0BD2}" dt="2023-03-06T15:07:56.555" v="709" actId="14100"/>
          <ac:spMkLst>
            <pc:docMk/>
            <pc:sldMk cId="2198619011" sldId="2147327074"/>
            <ac:spMk id="9" creationId="{5E879FCE-A853-901A-A4CD-627263FE5FBD}"/>
          </ac:spMkLst>
        </pc:spChg>
        <pc:spChg chg="add mod">
          <ac:chgData name="Hebel, Dirk" userId="be71dc4c-a1ab-4d0b-926c-9e6c8d0cf5b0" providerId="ADAL" clId="{7C525FD4-0803-4512-A428-64732F6C0BD2}" dt="2023-03-06T15:04:52.848" v="688" actId="1076"/>
          <ac:spMkLst>
            <pc:docMk/>
            <pc:sldMk cId="2198619011" sldId="2147327074"/>
            <ac:spMk id="10" creationId="{968C8CCD-0EBA-DBB6-A23C-B9DFBDA6A982}"/>
          </ac:spMkLst>
        </pc:spChg>
        <pc:spChg chg="add mod">
          <ac:chgData name="Hebel, Dirk" userId="be71dc4c-a1ab-4d0b-926c-9e6c8d0cf5b0" providerId="ADAL" clId="{7C525FD4-0803-4512-A428-64732F6C0BD2}" dt="2023-03-06T15:06:20.994" v="700" actId="14100"/>
          <ac:spMkLst>
            <pc:docMk/>
            <pc:sldMk cId="2198619011" sldId="2147327074"/>
            <ac:spMk id="11" creationId="{D87FC98F-445E-08EA-CFBE-5C5437583363}"/>
          </ac:spMkLst>
        </pc:spChg>
        <pc:spChg chg="add mod">
          <ac:chgData name="Hebel, Dirk" userId="be71dc4c-a1ab-4d0b-926c-9e6c8d0cf5b0" providerId="ADAL" clId="{7C525FD4-0803-4512-A428-64732F6C0BD2}" dt="2023-03-06T15:07:09.238" v="701"/>
          <ac:spMkLst>
            <pc:docMk/>
            <pc:sldMk cId="2198619011" sldId="2147327074"/>
            <ac:spMk id="12" creationId="{E4923CB2-3D1F-E667-C7A7-B230180D3E0D}"/>
          </ac:spMkLst>
        </pc:spChg>
        <pc:spChg chg="add mod">
          <ac:chgData name="Hebel, Dirk" userId="be71dc4c-a1ab-4d0b-926c-9e6c8d0cf5b0" providerId="ADAL" clId="{7C525FD4-0803-4512-A428-64732F6C0BD2}" dt="2023-03-06T15:07:23.930" v="705" actId="14100"/>
          <ac:spMkLst>
            <pc:docMk/>
            <pc:sldMk cId="2198619011" sldId="2147327074"/>
            <ac:spMk id="13" creationId="{7E6E13E3-BA92-2F96-C52F-9AFA987DAA13}"/>
          </ac:spMkLst>
        </pc:spChg>
        <pc:spChg chg="add mod">
          <ac:chgData name="Hebel, Dirk" userId="be71dc4c-a1ab-4d0b-926c-9e6c8d0cf5b0" providerId="ADAL" clId="{7C525FD4-0803-4512-A428-64732F6C0BD2}" dt="2023-03-06T15:07:37.321" v="708" actId="14100"/>
          <ac:spMkLst>
            <pc:docMk/>
            <pc:sldMk cId="2198619011" sldId="2147327074"/>
            <ac:spMk id="14" creationId="{0A2BDF38-E33C-17FB-6A27-1898696E6670}"/>
          </ac:spMkLst>
        </pc:spChg>
        <pc:spChg chg="add mod">
          <ac:chgData name="Hebel, Dirk" userId="be71dc4c-a1ab-4d0b-926c-9e6c8d0cf5b0" providerId="ADAL" clId="{7C525FD4-0803-4512-A428-64732F6C0BD2}" dt="2023-03-06T15:08:07.559" v="712" actId="14100"/>
          <ac:spMkLst>
            <pc:docMk/>
            <pc:sldMk cId="2198619011" sldId="2147327074"/>
            <ac:spMk id="15" creationId="{2835924C-ACD4-E2CE-56B8-87248F206339}"/>
          </ac:spMkLst>
        </pc:spChg>
        <pc:picChg chg="mod modCrop">
          <ac:chgData name="Hebel, Dirk" userId="be71dc4c-a1ab-4d0b-926c-9e6c8d0cf5b0" providerId="ADAL" clId="{7C525FD4-0803-4512-A428-64732F6C0BD2}" dt="2023-03-06T15:04:35.019" v="684" actId="1076"/>
          <ac:picMkLst>
            <pc:docMk/>
            <pc:sldMk cId="2198619011" sldId="2147327074"/>
            <ac:picMk id="5" creationId="{55128C0B-B79A-4332-B798-A1EBC65D9FF3}"/>
          </ac:picMkLst>
        </pc:picChg>
        <pc:picChg chg="mod">
          <ac:chgData name="Hebel, Dirk" userId="be71dc4c-a1ab-4d0b-926c-9e6c8d0cf5b0" providerId="ADAL" clId="{7C525FD4-0803-4512-A428-64732F6C0BD2}" dt="2023-03-06T15:15:02.361" v="848" actId="1076"/>
          <ac:picMkLst>
            <pc:docMk/>
            <pc:sldMk cId="2198619011" sldId="2147327074"/>
            <ac:picMk id="6" creationId="{FC162D9C-5D2D-E40B-A4DB-F07097859FEC}"/>
          </ac:picMkLst>
        </pc:picChg>
      </pc:sldChg>
      <pc:sldChg chg="addSp delSp modSp add mod ord delAnim">
        <pc:chgData name="Hebel, Dirk" userId="be71dc4c-a1ab-4d0b-926c-9e6c8d0cf5b0" providerId="ADAL" clId="{7C525FD4-0803-4512-A428-64732F6C0BD2}" dt="2023-03-06T14:58:12.029" v="576" actId="14100"/>
        <pc:sldMkLst>
          <pc:docMk/>
          <pc:sldMk cId="1895569461" sldId="2147327075"/>
        </pc:sldMkLst>
        <pc:spChg chg="mod">
          <ac:chgData name="Hebel, Dirk" userId="be71dc4c-a1ab-4d0b-926c-9e6c8d0cf5b0" providerId="ADAL" clId="{7C525FD4-0803-4512-A428-64732F6C0BD2}" dt="2023-03-06T14:57:41.680" v="571"/>
          <ac:spMkLst>
            <pc:docMk/>
            <pc:sldMk cId="1895569461" sldId="2147327075"/>
            <ac:spMk id="5" creationId="{00000000-0000-0000-0000-000000000000}"/>
          </ac:spMkLst>
        </pc:spChg>
        <pc:spChg chg="mod">
          <ac:chgData name="Hebel, Dirk" userId="be71dc4c-a1ab-4d0b-926c-9e6c8d0cf5b0" providerId="ADAL" clId="{7C525FD4-0803-4512-A428-64732F6C0BD2}" dt="2023-03-06T14:57:41.680" v="571"/>
          <ac:spMkLst>
            <pc:docMk/>
            <pc:sldMk cId="1895569461" sldId="2147327075"/>
            <ac:spMk id="6" creationId="{0C99377C-26DC-4822-8E13-082F053164FF}"/>
          </ac:spMkLst>
        </pc:spChg>
        <pc:spChg chg="add mod">
          <ac:chgData name="Hebel, Dirk" userId="be71dc4c-a1ab-4d0b-926c-9e6c8d0cf5b0" providerId="ADAL" clId="{7C525FD4-0803-4512-A428-64732F6C0BD2}" dt="2023-03-06T14:57:55.416" v="572" actId="1076"/>
          <ac:spMkLst>
            <pc:docMk/>
            <pc:sldMk cId="1895569461" sldId="2147327075"/>
            <ac:spMk id="7" creationId="{AB1BC504-57C2-56EF-833D-646979F98F5B}"/>
          </ac:spMkLst>
        </pc:spChg>
        <pc:spChg chg="add mod">
          <ac:chgData name="Hebel, Dirk" userId="be71dc4c-a1ab-4d0b-926c-9e6c8d0cf5b0" providerId="ADAL" clId="{7C525FD4-0803-4512-A428-64732F6C0BD2}" dt="2023-03-06T14:57:55.416" v="572" actId="1076"/>
          <ac:spMkLst>
            <pc:docMk/>
            <pc:sldMk cId="1895569461" sldId="2147327075"/>
            <ac:spMk id="25" creationId="{BB750BF6-8FD8-8E0D-556D-B978D9CC16F9}"/>
          </ac:spMkLst>
        </pc:spChg>
        <pc:spChg chg="del">
          <ac:chgData name="Hebel, Dirk" userId="be71dc4c-a1ab-4d0b-926c-9e6c8d0cf5b0" providerId="ADAL" clId="{7C525FD4-0803-4512-A428-64732F6C0BD2}" dt="2023-03-06T14:49:30.689" v="417" actId="21"/>
          <ac:spMkLst>
            <pc:docMk/>
            <pc:sldMk cId="1895569461" sldId="2147327075"/>
            <ac:spMk id="30" creationId="{3616DF7E-937F-174C-8493-080C6FB12F4B}"/>
          </ac:spMkLst>
        </pc:spChg>
        <pc:spChg chg="mod">
          <ac:chgData name="Hebel, Dirk" userId="be71dc4c-a1ab-4d0b-926c-9e6c8d0cf5b0" providerId="ADAL" clId="{7C525FD4-0803-4512-A428-64732F6C0BD2}" dt="2023-03-06T14:50:50.467" v="526"/>
          <ac:spMkLst>
            <pc:docMk/>
            <pc:sldMk cId="1895569461" sldId="2147327075"/>
            <ac:spMk id="31" creationId="{8DA2EF79-E0D1-611D-4D07-26FDB74DD2B5}"/>
          </ac:spMkLst>
        </pc:spChg>
        <pc:spChg chg="mod">
          <ac:chgData name="Hebel, Dirk" userId="be71dc4c-a1ab-4d0b-926c-9e6c8d0cf5b0" providerId="ADAL" clId="{7C525FD4-0803-4512-A428-64732F6C0BD2}" dt="2023-03-06T14:50:50.467" v="526"/>
          <ac:spMkLst>
            <pc:docMk/>
            <pc:sldMk cId="1895569461" sldId="2147327075"/>
            <ac:spMk id="32" creationId="{594763A3-F3E1-F913-1513-BD3E245965BA}"/>
          </ac:spMkLst>
        </pc:spChg>
        <pc:spChg chg="mod topLvl">
          <ac:chgData name="Hebel, Dirk" userId="be71dc4c-a1ab-4d0b-926c-9e6c8d0cf5b0" providerId="ADAL" clId="{7C525FD4-0803-4512-A428-64732F6C0BD2}" dt="2023-03-06T14:57:55.416" v="572" actId="1076"/>
          <ac:spMkLst>
            <pc:docMk/>
            <pc:sldMk cId="1895569461" sldId="2147327075"/>
            <ac:spMk id="33" creationId="{A73D8C37-7208-C047-A65B-AA6FC919EA14}"/>
          </ac:spMkLst>
        </pc:spChg>
        <pc:spChg chg="del topLvl">
          <ac:chgData name="Hebel, Dirk" userId="be71dc4c-a1ab-4d0b-926c-9e6c8d0cf5b0" providerId="ADAL" clId="{7C525FD4-0803-4512-A428-64732F6C0BD2}" dt="2023-03-06T14:50:02.752" v="517" actId="21"/>
          <ac:spMkLst>
            <pc:docMk/>
            <pc:sldMk cId="1895569461" sldId="2147327075"/>
            <ac:spMk id="34" creationId="{CD8840BF-0F5B-C142-87C7-75C9A5594BAF}"/>
          </ac:spMkLst>
        </pc:spChg>
        <pc:spChg chg="mod">
          <ac:chgData name="Hebel, Dirk" userId="be71dc4c-a1ab-4d0b-926c-9e6c8d0cf5b0" providerId="ADAL" clId="{7C525FD4-0803-4512-A428-64732F6C0BD2}" dt="2023-03-06T14:50:50.467" v="526"/>
          <ac:spMkLst>
            <pc:docMk/>
            <pc:sldMk cId="1895569461" sldId="2147327075"/>
            <ac:spMk id="35" creationId="{44D4154F-5CB8-139C-61FA-AB48384AAB86}"/>
          </ac:spMkLst>
        </pc:spChg>
        <pc:spChg chg="mod">
          <ac:chgData name="Hebel, Dirk" userId="be71dc4c-a1ab-4d0b-926c-9e6c8d0cf5b0" providerId="ADAL" clId="{7C525FD4-0803-4512-A428-64732F6C0BD2}" dt="2023-03-06T14:50:50.467" v="526"/>
          <ac:spMkLst>
            <pc:docMk/>
            <pc:sldMk cId="1895569461" sldId="2147327075"/>
            <ac:spMk id="36" creationId="{6F7DCC1D-53DD-7171-85FB-86383941E256}"/>
          </ac:spMkLst>
        </pc:spChg>
        <pc:spChg chg="add del mod">
          <ac:chgData name="Hebel, Dirk" userId="be71dc4c-a1ab-4d0b-926c-9e6c8d0cf5b0" providerId="ADAL" clId="{7C525FD4-0803-4512-A428-64732F6C0BD2}" dt="2023-03-06T14:55:14.408" v="549" actId="21"/>
          <ac:spMkLst>
            <pc:docMk/>
            <pc:sldMk cId="1895569461" sldId="2147327075"/>
            <ac:spMk id="37" creationId="{3DEA9646-D0D0-23F2-B345-DA651EF2A69C}"/>
          </ac:spMkLst>
        </pc:spChg>
        <pc:spChg chg="add del mod">
          <ac:chgData name="Hebel, Dirk" userId="be71dc4c-a1ab-4d0b-926c-9e6c8d0cf5b0" providerId="ADAL" clId="{7C525FD4-0803-4512-A428-64732F6C0BD2}" dt="2023-03-06T14:57:41.680" v="571"/>
          <ac:spMkLst>
            <pc:docMk/>
            <pc:sldMk cId="1895569461" sldId="2147327075"/>
            <ac:spMk id="38" creationId="{023CA9A5-F8AC-A7A5-0A4F-E6692648F645}"/>
          </ac:spMkLst>
        </pc:spChg>
        <pc:spChg chg="add del mod">
          <ac:chgData name="Hebel, Dirk" userId="be71dc4c-a1ab-4d0b-926c-9e6c8d0cf5b0" providerId="ADAL" clId="{7C525FD4-0803-4512-A428-64732F6C0BD2}" dt="2023-03-06T14:57:41.680" v="571"/>
          <ac:spMkLst>
            <pc:docMk/>
            <pc:sldMk cId="1895569461" sldId="2147327075"/>
            <ac:spMk id="39" creationId="{22FAC0BD-414D-2AE2-13BB-A027B67F9605}"/>
          </ac:spMkLst>
        </pc:spChg>
        <pc:grpChg chg="del">
          <ac:chgData name="Hebel, Dirk" userId="be71dc4c-a1ab-4d0b-926c-9e6c8d0cf5b0" providerId="ADAL" clId="{7C525FD4-0803-4512-A428-64732F6C0BD2}" dt="2023-03-06T14:50:02.752" v="517" actId="21"/>
          <ac:grpSpMkLst>
            <pc:docMk/>
            <pc:sldMk cId="1895569461" sldId="2147327075"/>
            <ac:grpSpMk id="2" creationId="{580F7E64-92DD-C943-AE2F-3181869CBF06}"/>
          </ac:grpSpMkLst>
        </pc:grpChg>
        <pc:grpChg chg="mod">
          <ac:chgData name="Hebel, Dirk" userId="be71dc4c-a1ab-4d0b-926c-9e6c8d0cf5b0" providerId="ADAL" clId="{7C525FD4-0803-4512-A428-64732F6C0BD2}" dt="2023-03-06T14:58:12.029" v="576" actId="14100"/>
          <ac:grpSpMkLst>
            <pc:docMk/>
            <pc:sldMk cId="1895569461" sldId="2147327075"/>
            <ac:grpSpMk id="3" creationId="{11EDA454-8428-9D41-9F67-8EF6A814B00E}"/>
          </ac:grpSpMkLst>
        </pc:grpChg>
        <pc:grpChg chg="mod">
          <ac:chgData name="Hebel, Dirk" userId="be71dc4c-a1ab-4d0b-926c-9e6c8d0cf5b0" providerId="ADAL" clId="{7C525FD4-0803-4512-A428-64732F6C0BD2}" dt="2023-03-06T14:58:01.742" v="574" actId="1076"/>
          <ac:grpSpMkLst>
            <pc:docMk/>
            <pc:sldMk cId="1895569461" sldId="2147327075"/>
            <ac:grpSpMk id="8" creationId="{C10D82AE-7303-0B4D-A423-B079C4D0B127}"/>
          </ac:grpSpMkLst>
        </pc:grpChg>
        <pc:grpChg chg="mod">
          <ac:chgData name="Hebel, Dirk" userId="be71dc4c-a1ab-4d0b-926c-9e6c8d0cf5b0" providerId="ADAL" clId="{7C525FD4-0803-4512-A428-64732F6C0BD2}" dt="2023-03-06T14:58:01.742" v="574" actId="1076"/>
          <ac:grpSpMkLst>
            <pc:docMk/>
            <pc:sldMk cId="1895569461" sldId="2147327075"/>
            <ac:grpSpMk id="10" creationId="{6EDA1E84-E786-B14F-87B4-26D19C413EE3}"/>
          </ac:grpSpMkLst>
        </pc:grpChg>
        <pc:grpChg chg="mod">
          <ac:chgData name="Hebel, Dirk" userId="be71dc4c-a1ab-4d0b-926c-9e6c8d0cf5b0" providerId="ADAL" clId="{7C525FD4-0803-4512-A428-64732F6C0BD2}" dt="2023-03-06T14:58:01.742" v="574" actId="1076"/>
          <ac:grpSpMkLst>
            <pc:docMk/>
            <pc:sldMk cId="1895569461" sldId="2147327075"/>
            <ac:grpSpMk id="12" creationId="{A54E3B61-E747-6F49-8F1A-EB5A3A9CB45B}"/>
          </ac:grpSpMkLst>
        </pc:grpChg>
        <pc:grpChg chg="mod">
          <ac:chgData name="Hebel, Dirk" userId="be71dc4c-a1ab-4d0b-926c-9e6c8d0cf5b0" providerId="ADAL" clId="{7C525FD4-0803-4512-A428-64732F6C0BD2}" dt="2023-03-06T14:49:58.469" v="515" actId="1036"/>
          <ac:grpSpMkLst>
            <pc:docMk/>
            <pc:sldMk cId="1895569461" sldId="2147327075"/>
            <ac:grpSpMk id="14" creationId="{4CF03C19-5CC3-CE46-BAE0-867CF8434924}"/>
          </ac:grpSpMkLst>
        </pc:grpChg>
        <pc:grpChg chg="mod">
          <ac:chgData name="Hebel, Dirk" userId="be71dc4c-a1ab-4d0b-926c-9e6c8d0cf5b0" providerId="ADAL" clId="{7C525FD4-0803-4512-A428-64732F6C0BD2}" dt="2023-03-06T14:49:58.469" v="515" actId="1036"/>
          <ac:grpSpMkLst>
            <pc:docMk/>
            <pc:sldMk cId="1895569461" sldId="2147327075"/>
            <ac:grpSpMk id="16" creationId="{812F7F10-D3F0-D048-AE5C-9AD9593D07AB}"/>
          </ac:grpSpMkLst>
        </pc:grpChg>
        <pc:grpChg chg="del">
          <ac:chgData name="Hebel, Dirk" userId="be71dc4c-a1ab-4d0b-926c-9e6c8d0cf5b0" providerId="ADAL" clId="{7C525FD4-0803-4512-A428-64732F6C0BD2}" dt="2023-03-06T14:49:59.853" v="516" actId="478"/>
          <ac:grpSpMkLst>
            <pc:docMk/>
            <pc:sldMk cId="1895569461" sldId="2147327075"/>
            <ac:grpSpMk id="18" creationId="{8FB05EE5-D254-FB47-B7B0-AE8D7FF52CD5}"/>
          </ac:grpSpMkLst>
        </pc:grpChg>
        <pc:grpChg chg="add del mod">
          <ac:chgData name="Hebel, Dirk" userId="be71dc4c-a1ab-4d0b-926c-9e6c8d0cf5b0" providerId="ADAL" clId="{7C525FD4-0803-4512-A428-64732F6C0BD2}" dt="2023-03-06T14:55:14.408" v="549" actId="21"/>
          <ac:grpSpMkLst>
            <pc:docMk/>
            <pc:sldMk cId="1895569461" sldId="2147327075"/>
            <ac:grpSpMk id="26" creationId="{71FA500E-5524-8661-53CD-2DAF297A062D}"/>
          </ac:grpSpMkLst>
        </pc:grpChg>
      </pc:sldChg>
      <pc:sldChg chg="addSp delSp modSp add mod">
        <pc:chgData name="Hebel, Dirk" userId="be71dc4c-a1ab-4d0b-926c-9e6c8d0cf5b0" providerId="ADAL" clId="{7C525FD4-0803-4512-A428-64732F6C0BD2}" dt="2023-03-06T15:21:28.116" v="1238"/>
        <pc:sldMkLst>
          <pc:docMk/>
          <pc:sldMk cId="3030747132" sldId="2147327076"/>
        </pc:sldMkLst>
        <pc:spChg chg="add mod">
          <ac:chgData name="Hebel, Dirk" userId="be71dc4c-a1ab-4d0b-926c-9e6c8d0cf5b0" providerId="ADAL" clId="{7C525FD4-0803-4512-A428-64732F6C0BD2}" dt="2023-03-06T15:21:28.116" v="1238"/>
          <ac:spMkLst>
            <pc:docMk/>
            <pc:sldMk cId="3030747132" sldId="2147327076"/>
            <ac:spMk id="2" creationId="{B9BD7CEB-7DE4-A52C-EE26-83A8CAF0EAF2}"/>
          </ac:spMkLst>
        </pc:spChg>
        <pc:spChg chg="del">
          <ac:chgData name="Hebel, Dirk" userId="be71dc4c-a1ab-4d0b-926c-9e6c8d0cf5b0" providerId="ADAL" clId="{7C525FD4-0803-4512-A428-64732F6C0BD2}" dt="2023-03-06T15:21:27.886" v="1237" actId="478"/>
          <ac:spMkLst>
            <pc:docMk/>
            <pc:sldMk cId="3030747132" sldId="2147327076"/>
            <ac:spMk id="13" creationId="{2CCBBB94-6747-C64D-8625-B87CB48F217A}"/>
          </ac:spMkLst>
        </pc:spChg>
      </pc:sldChg>
      <pc:sldChg chg="addSp modSp add mod">
        <pc:chgData name="Hebel, Dirk" userId="be71dc4c-a1ab-4d0b-926c-9e6c8d0cf5b0" providerId="ADAL" clId="{7C525FD4-0803-4512-A428-64732F6C0BD2}" dt="2023-03-06T14:56:12.559" v="558" actId="1076"/>
        <pc:sldMkLst>
          <pc:docMk/>
          <pc:sldMk cId="2752750649" sldId="2147327077"/>
        </pc:sldMkLst>
        <pc:picChg chg="add mod">
          <ac:chgData name="Hebel, Dirk" userId="be71dc4c-a1ab-4d0b-926c-9e6c8d0cf5b0" providerId="ADAL" clId="{7C525FD4-0803-4512-A428-64732F6C0BD2}" dt="2023-03-06T14:56:12.559" v="558" actId="1076"/>
          <ac:picMkLst>
            <pc:docMk/>
            <pc:sldMk cId="2752750649" sldId="2147327077"/>
            <ac:picMk id="2" creationId="{BBBF93CA-FAE4-B14E-7B35-7A1503563DEF}"/>
          </ac:picMkLst>
        </pc:picChg>
      </pc:sldChg>
      <pc:sldChg chg="addSp delSp modSp new mod ord modClrScheme chgLayout">
        <pc:chgData name="Hebel, Dirk" userId="be71dc4c-a1ab-4d0b-926c-9e6c8d0cf5b0" providerId="ADAL" clId="{7C525FD4-0803-4512-A428-64732F6C0BD2}" dt="2023-03-06T15:18:56.548" v="1025" actId="20577"/>
        <pc:sldMkLst>
          <pc:docMk/>
          <pc:sldMk cId="793671156" sldId="2147327078"/>
        </pc:sldMkLst>
        <pc:spChg chg="del mod ord">
          <ac:chgData name="Hebel, Dirk" userId="be71dc4c-a1ab-4d0b-926c-9e6c8d0cf5b0" providerId="ADAL" clId="{7C525FD4-0803-4512-A428-64732F6C0BD2}" dt="2023-03-06T15:17:58.948" v="892" actId="700"/>
          <ac:spMkLst>
            <pc:docMk/>
            <pc:sldMk cId="793671156" sldId="2147327078"/>
            <ac:spMk id="2" creationId="{99AEF522-98C6-E80C-5ABC-3C52EB11F6FF}"/>
          </ac:spMkLst>
        </pc:spChg>
        <pc:spChg chg="del mod ord">
          <ac:chgData name="Hebel, Dirk" userId="be71dc4c-a1ab-4d0b-926c-9e6c8d0cf5b0" providerId="ADAL" clId="{7C525FD4-0803-4512-A428-64732F6C0BD2}" dt="2023-03-06T15:17:58.948" v="892" actId="700"/>
          <ac:spMkLst>
            <pc:docMk/>
            <pc:sldMk cId="793671156" sldId="2147327078"/>
            <ac:spMk id="3" creationId="{F14128E2-2477-3257-A982-9489087415B4}"/>
          </ac:spMkLst>
        </pc:spChg>
        <pc:spChg chg="mod ord">
          <ac:chgData name="Hebel, Dirk" userId="be71dc4c-a1ab-4d0b-926c-9e6c8d0cf5b0" providerId="ADAL" clId="{7C525FD4-0803-4512-A428-64732F6C0BD2}" dt="2023-03-06T15:17:58.948" v="892" actId="700"/>
          <ac:spMkLst>
            <pc:docMk/>
            <pc:sldMk cId="793671156" sldId="2147327078"/>
            <ac:spMk id="4" creationId="{37F36A73-9953-40D4-EB5D-C74328CAE51D}"/>
          </ac:spMkLst>
        </pc:spChg>
        <pc:spChg chg="add mod ord">
          <ac:chgData name="Hebel, Dirk" userId="be71dc4c-a1ab-4d0b-926c-9e6c8d0cf5b0" providerId="ADAL" clId="{7C525FD4-0803-4512-A428-64732F6C0BD2}" dt="2023-03-06T15:18:14.167" v="941" actId="20577"/>
          <ac:spMkLst>
            <pc:docMk/>
            <pc:sldMk cId="793671156" sldId="2147327078"/>
            <ac:spMk id="5" creationId="{476902A7-47D4-AD9D-BA16-72D67A9D42AC}"/>
          </ac:spMkLst>
        </pc:spChg>
        <pc:spChg chg="add mod ord">
          <ac:chgData name="Hebel, Dirk" userId="be71dc4c-a1ab-4d0b-926c-9e6c8d0cf5b0" providerId="ADAL" clId="{7C525FD4-0803-4512-A428-64732F6C0BD2}" dt="2023-03-06T15:18:56.548" v="1025" actId="20577"/>
          <ac:spMkLst>
            <pc:docMk/>
            <pc:sldMk cId="793671156" sldId="2147327078"/>
            <ac:spMk id="6" creationId="{9F185C13-1625-21A9-4470-2E9BD6DEF79F}"/>
          </ac:spMkLst>
        </pc:spChg>
      </pc:sldChg>
      <pc:sldChg chg="addSp modSp add del mod">
        <pc:chgData name="Hebel, Dirk" userId="be71dc4c-a1ab-4d0b-926c-9e6c8d0cf5b0" providerId="ADAL" clId="{7C525FD4-0803-4512-A428-64732F6C0BD2}" dt="2023-03-06T15:07:11.175" v="702" actId="47"/>
        <pc:sldMkLst>
          <pc:docMk/>
          <pc:sldMk cId="2921814102" sldId="2147327078"/>
        </pc:sldMkLst>
        <pc:spChg chg="add mod">
          <ac:chgData name="Hebel, Dirk" userId="be71dc4c-a1ab-4d0b-926c-9e6c8d0cf5b0" providerId="ADAL" clId="{7C525FD4-0803-4512-A428-64732F6C0BD2}" dt="2023-03-06T15:06:00.924" v="696" actId="6549"/>
          <ac:spMkLst>
            <pc:docMk/>
            <pc:sldMk cId="2921814102" sldId="2147327078"/>
            <ac:spMk id="11" creationId="{E408FD70-83EF-A46D-A8EA-C58484C1C8A7}"/>
          </ac:spMkLst>
        </pc:spChg>
      </pc:sldChg>
      <pc:sldChg chg="modSp add mod">
        <pc:chgData name="Hebel, Dirk" userId="be71dc4c-a1ab-4d0b-926c-9e6c8d0cf5b0" providerId="ADAL" clId="{7C525FD4-0803-4512-A428-64732F6C0BD2}" dt="2023-03-06T15:28:10.395" v="1348" actId="5793"/>
        <pc:sldMkLst>
          <pc:docMk/>
          <pc:sldMk cId="1921530647" sldId="2147327079"/>
        </pc:sldMkLst>
        <pc:spChg chg="mod">
          <ac:chgData name="Hebel, Dirk" userId="be71dc4c-a1ab-4d0b-926c-9e6c8d0cf5b0" providerId="ADAL" clId="{7C525FD4-0803-4512-A428-64732F6C0BD2}" dt="2023-03-06T15:27:56.350" v="1295" actId="6549"/>
          <ac:spMkLst>
            <pc:docMk/>
            <pc:sldMk cId="1921530647" sldId="2147327079"/>
            <ac:spMk id="5" creationId="{476902A7-47D4-AD9D-BA16-72D67A9D42AC}"/>
          </ac:spMkLst>
        </pc:spChg>
        <pc:spChg chg="mod">
          <ac:chgData name="Hebel, Dirk" userId="be71dc4c-a1ab-4d0b-926c-9e6c8d0cf5b0" providerId="ADAL" clId="{7C525FD4-0803-4512-A428-64732F6C0BD2}" dt="2023-03-06T15:28:10.395" v="1348" actId="5793"/>
          <ac:spMkLst>
            <pc:docMk/>
            <pc:sldMk cId="1921530647" sldId="2147327079"/>
            <ac:spMk id="6" creationId="{9F185C13-1625-21A9-4470-2E9BD6DEF79F}"/>
          </ac:spMkLst>
        </pc:spChg>
      </pc:sldChg>
      <pc:sldMasterChg chg="addSp delSp modSp mod modSldLayout">
        <pc:chgData name="Hebel, Dirk" userId="be71dc4c-a1ab-4d0b-926c-9e6c8d0cf5b0" providerId="ADAL" clId="{7C525FD4-0803-4512-A428-64732F6C0BD2}" dt="2023-03-06T14:40:51.208" v="224"/>
        <pc:sldMasterMkLst>
          <pc:docMk/>
          <pc:sldMasterMk cId="105975586" sldId="2147483648"/>
        </pc:sldMasterMkLst>
        <pc:spChg chg="del">
          <ac:chgData name="Hebel, Dirk" userId="be71dc4c-a1ab-4d0b-926c-9e6c8d0cf5b0" providerId="ADAL" clId="{7C525FD4-0803-4512-A428-64732F6C0BD2}" dt="2023-03-06T14:31:44.269" v="182" actId="478"/>
          <ac:spMkLst>
            <pc:docMk/>
            <pc:sldMasterMk cId="105975586" sldId="2147483648"/>
            <ac:spMk id="4" creationId="{D05D3E40-CAE2-3445-BA8E-F6A83FC2ADB9}"/>
          </ac:spMkLst>
        </pc:spChg>
        <pc:spChg chg="del">
          <ac:chgData name="Hebel, Dirk" userId="be71dc4c-a1ab-4d0b-926c-9e6c8d0cf5b0" providerId="ADAL" clId="{7C525FD4-0803-4512-A428-64732F6C0BD2}" dt="2023-03-06T14:31:44.269" v="182" actId="478"/>
          <ac:spMkLst>
            <pc:docMk/>
            <pc:sldMasterMk cId="105975586" sldId="2147483648"/>
            <ac:spMk id="5" creationId="{64804764-C31F-4B4D-9BF9-E8B860250CAA}"/>
          </ac:spMkLst>
        </pc:spChg>
        <pc:picChg chg="add del mod">
          <ac:chgData name="Hebel, Dirk" userId="be71dc4c-a1ab-4d0b-926c-9e6c8d0cf5b0" providerId="ADAL" clId="{7C525FD4-0803-4512-A428-64732F6C0BD2}" dt="2023-03-06T14:33:26.040" v="202" actId="478"/>
          <ac:picMkLst>
            <pc:docMk/>
            <pc:sldMasterMk cId="105975586" sldId="2147483648"/>
            <ac:picMk id="2" creationId="{F15EF7F7-26EB-D924-7412-9A6FCADF9FDA}"/>
          </ac:picMkLst>
        </pc:picChg>
        <pc:picChg chg="add mod">
          <ac:chgData name="Hebel, Dirk" userId="be71dc4c-a1ab-4d0b-926c-9e6c8d0cf5b0" providerId="ADAL" clId="{7C525FD4-0803-4512-A428-64732F6C0BD2}" dt="2023-03-06T14:33:26.771" v="203"/>
          <ac:picMkLst>
            <pc:docMk/>
            <pc:sldMasterMk cId="105975586" sldId="2147483648"/>
            <ac:picMk id="8" creationId="{3B59E458-94B1-5D74-9793-044151F3A5BA}"/>
          </ac:picMkLst>
        </pc:picChg>
        <pc:sldLayoutChg chg="delSp mod">
          <pc:chgData name="Hebel, Dirk" userId="be71dc4c-a1ab-4d0b-926c-9e6c8d0cf5b0" providerId="ADAL" clId="{7C525FD4-0803-4512-A428-64732F6C0BD2}" dt="2023-03-06T14:31:52.221" v="183" actId="478"/>
          <pc:sldLayoutMkLst>
            <pc:docMk/>
            <pc:sldMasterMk cId="105975586" sldId="2147483648"/>
            <pc:sldLayoutMk cId="3475505964" sldId="2147483651"/>
          </pc:sldLayoutMkLst>
          <pc:spChg chg="del">
            <ac:chgData name="Hebel, Dirk" userId="be71dc4c-a1ab-4d0b-926c-9e6c8d0cf5b0" providerId="ADAL" clId="{7C525FD4-0803-4512-A428-64732F6C0BD2}" dt="2023-03-06T14:31:52.221" v="183" actId="478"/>
            <ac:spMkLst>
              <pc:docMk/>
              <pc:sldMasterMk cId="105975586" sldId="2147483648"/>
              <pc:sldLayoutMk cId="3475505964" sldId="2147483651"/>
              <ac:spMk id="4" creationId="{500DDFE7-0C2E-3F4E-8FA9-0DAF2A35DCAB}"/>
            </ac:spMkLst>
          </pc:spChg>
          <pc:spChg chg="del">
            <ac:chgData name="Hebel, Dirk" userId="be71dc4c-a1ab-4d0b-926c-9e6c8d0cf5b0" providerId="ADAL" clId="{7C525FD4-0803-4512-A428-64732F6C0BD2}" dt="2023-03-06T14:31:52.221" v="183" actId="478"/>
            <ac:spMkLst>
              <pc:docMk/>
              <pc:sldMasterMk cId="105975586" sldId="2147483648"/>
              <pc:sldLayoutMk cId="3475505964" sldId="2147483651"/>
              <ac:spMk id="5" creationId="{20CB5C73-8393-DF43-A678-0CB728CE847D}"/>
            </ac:spMkLst>
          </pc:spChg>
        </pc:sldLayoutChg>
        <pc:sldLayoutChg chg="delSp mod">
          <pc:chgData name="Hebel, Dirk" userId="be71dc4c-a1ab-4d0b-926c-9e6c8d0cf5b0" providerId="ADAL" clId="{7C525FD4-0803-4512-A428-64732F6C0BD2}" dt="2023-03-06T14:31:53.564" v="184" actId="478"/>
          <pc:sldLayoutMkLst>
            <pc:docMk/>
            <pc:sldMasterMk cId="105975586" sldId="2147483648"/>
            <pc:sldLayoutMk cId="2788345788" sldId="2147483652"/>
          </pc:sldLayoutMkLst>
          <pc:spChg chg="del">
            <ac:chgData name="Hebel, Dirk" userId="be71dc4c-a1ab-4d0b-926c-9e6c8d0cf5b0" providerId="ADAL" clId="{7C525FD4-0803-4512-A428-64732F6C0BD2}" dt="2023-03-06T14:31:53.564" v="184" actId="478"/>
            <ac:spMkLst>
              <pc:docMk/>
              <pc:sldMasterMk cId="105975586" sldId="2147483648"/>
              <pc:sldLayoutMk cId="2788345788" sldId="2147483652"/>
              <ac:spMk id="4" creationId="{24DD605F-C7FA-D44D-AFD8-0E686475C061}"/>
            </ac:spMkLst>
          </pc:spChg>
          <pc:spChg chg="del">
            <ac:chgData name="Hebel, Dirk" userId="be71dc4c-a1ab-4d0b-926c-9e6c8d0cf5b0" providerId="ADAL" clId="{7C525FD4-0803-4512-A428-64732F6C0BD2}" dt="2023-03-06T14:31:53.564" v="184" actId="478"/>
            <ac:spMkLst>
              <pc:docMk/>
              <pc:sldMasterMk cId="105975586" sldId="2147483648"/>
              <pc:sldLayoutMk cId="2788345788" sldId="2147483652"/>
              <ac:spMk id="5" creationId="{482D41B5-0D68-7841-B752-C9C5103D3E20}"/>
            </ac:spMkLst>
          </pc:spChg>
          <pc:picChg chg="del">
            <ac:chgData name="Hebel, Dirk" userId="be71dc4c-a1ab-4d0b-926c-9e6c8d0cf5b0" providerId="ADAL" clId="{7C525FD4-0803-4512-A428-64732F6C0BD2}" dt="2023-03-06T14:31:22.048" v="175" actId="478"/>
            <ac:picMkLst>
              <pc:docMk/>
              <pc:sldMasterMk cId="105975586" sldId="2147483648"/>
              <pc:sldLayoutMk cId="2788345788" sldId="2147483652"/>
              <ac:picMk id="11" creationId="{DDD64C62-9DCA-F84D-9D47-B3F7805E8F63}"/>
            </ac:picMkLst>
          </pc:picChg>
        </pc:sldLayoutChg>
        <pc:sldLayoutChg chg="delSp mod">
          <pc:chgData name="Hebel, Dirk" userId="be71dc4c-a1ab-4d0b-926c-9e6c8d0cf5b0" providerId="ADAL" clId="{7C525FD4-0803-4512-A428-64732F6C0BD2}" dt="2023-03-06T14:31:57.534" v="186" actId="478"/>
          <pc:sldLayoutMkLst>
            <pc:docMk/>
            <pc:sldMasterMk cId="105975586" sldId="2147483648"/>
            <pc:sldLayoutMk cId="1095941512" sldId="2147483653"/>
          </pc:sldLayoutMkLst>
          <pc:spChg chg="del">
            <ac:chgData name="Hebel, Dirk" userId="be71dc4c-a1ab-4d0b-926c-9e6c8d0cf5b0" providerId="ADAL" clId="{7C525FD4-0803-4512-A428-64732F6C0BD2}" dt="2023-03-06T14:31:57.534" v="186" actId="478"/>
            <ac:spMkLst>
              <pc:docMk/>
              <pc:sldMasterMk cId="105975586" sldId="2147483648"/>
              <pc:sldLayoutMk cId="1095941512" sldId="2147483653"/>
              <ac:spMk id="4" creationId="{24DD605F-C7FA-D44D-AFD8-0E686475C061}"/>
            </ac:spMkLst>
          </pc:spChg>
          <pc:spChg chg="del">
            <ac:chgData name="Hebel, Dirk" userId="be71dc4c-a1ab-4d0b-926c-9e6c8d0cf5b0" providerId="ADAL" clId="{7C525FD4-0803-4512-A428-64732F6C0BD2}" dt="2023-03-06T14:31:57.534" v="186" actId="478"/>
            <ac:spMkLst>
              <pc:docMk/>
              <pc:sldMasterMk cId="105975586" sldId="2147483648"/>
              <pc:sldLayoutMk cId="1095941512" sldId="2147483653"/>
              <ac:spMk id="5" creationId="{482D41B5-0D68-7841-B752-C9C5103D3E20}"/>
            </ac:spMkLst>
          </pc:spChg>
          <pc:picChg chg="del">
            <ac:chgData name="Hebel, Dirk" userId="be71dc4c-a1ab-4d0b-926c-9e6c8d0cf5b0" providerId="ADAL" clId="{7C525FD4-0803-4512-A428-64732F6C0BD2}" dt="2023-03-06T14:31:24.441" v="177" actId="478"/>
            <ac:picMkLst>
              <pc:docMk/>
              <pc:sldMasterMk cId="105975586" sldId="2147483648"/>
              <pc:sldLayoutMk cId="1095941512" sldId="2147483653"/>
              <ac:picMk id="10" creationId="{1EA952E1-8386-CD43-894D-80FDE7717794}"/>
            </ac:picMkLst>
          </pc:picChg>
        </pc:sldLayoutChg>
        <pc:sldLayoutChg chg="delSp mod">
          <pc:chgData name="Hebel, Dirk" userId="be71dc4c-a1ab-4d0b-926c-9e6c8d0cf5b0" providerId="ADAL" clId="{7C525FD4-0803-4512-A428-64732F6C0BD2}" dt="2023-03-06T14:32:04.339" v="187" actId="478"/>
          <pc:sldLayoutMkLst>
            <pc:docMk/>
            <pc:sldMasterMk cId="105975586" sldId="2147483648"/>
            <pc:sldLayoutMk cId="3357071682" sldId="2147483661"/>
          </pc:sldLayoutMkLst>
          <pc:spChg chg="del">
            <ac:chgData name="Hebel, Dirk" userId="be71dc4c-a1ab-4d0b-926c-9e6c8d0cf5b0" providerId="ADAL" clId="{7C525FD4-0803-4512-A428-64732F6C0BD2}" dt="2023-03-06T14:32:04.339" v="187" actId="478"/>
            <ac:spMkLst>
              <pc:docMk/>
              <pc:sldMasterMk cId="105975586" sldId="2147483648"/>
              <pc:sldLayoutMk cId="3357071682" sldId="2147483661"/>
              <ac:spMk id="3" creationId="{63321F5F-34F6-BB41-8EFD-251D808E40BD}"/>
            </ac:spMkLst>
          </pc:spChg>
          <pc:spChg chg="del">
            <ac:chgData name="Hebel, Dirk" userId="be71dc4c-a1ab-4d0b-926c-9e6c8d0cf5b0" providerId="ADAL" clId="{7C525FD4-0803-4512-A428-64732F6C0BD2}" dt="2023-03-06T14:32:04.339" v="187" actId="478"/>
            <ac:spMkLst>
              <pc:docMk/>
              <pc:sldMasterMk cId="105975586" sldId="2147483648"/>
              <pc:sldLayoutMk cId="3357071682" sldId="2147483661"/>
              <ac:spMk id="4" creationId="{D6908AC6-AB97-6948-A9A4-3F87DFDBFB92}"/>
            </ac:spMkLst>
          </pc:spChg>
          <pc:picChg chg="del">
            <ac:chgData name="Hebel, Dirk" userId="be71dc4c-a1ab-4d0b-926c-9e6c8d0cf5b0" providerId="ADAL" clId="{7C525FD4-0803-4512-A428-64732F6C0BD2}" dt="2023-03-06T14:31:25.920" v="179" actId="478"/>
            <ac:picMkLst>
              <pc:docMk/>
              <pc:sldMasterMk cId="105975586" sldId="2147483648"/>
              <pc:sldLayoutMk cId="3357071682" sldId="2147483661"/>
              <ac:picMk id="9" creationId="{C1C310B4-7D59-B34F-BEE4-6550E69DFBDA}"/>
            </ac:picMkLst>
          </pc:picChg>
        </pc:sldLayoutChg>
        <pc:sldLayoutChg chg="delSp mod">
          <pc:chgData name="Hebel, Dirk" userId="be71dc4c-a1ab-4d0b-926c-9e6c8d0cf5b0" providerId="ADAL" clId="{7C525FD4-0803-4512-A428-64732F6C0BD2}" dt="2023-03-06T14:32:12.665" v="191" actId="478"/>
          <pc:sldLayoutMkLst>
            <pc:docMk/>
            <pc:sldMasterMk cId="105975586" sldId="2147483648"/>
            <pc:sldLayoutMk cId="2138126642" sldId="2147483663"/>
          </pc:sldLayoutMkLst>
          <pc:spChg chg="del">
            <ac:chgData name="Hebel, Dirk" userId="be71dc4c-a1ab-4d0b-926c-9e6c8d0cf5b0" providerId="ADAL" clId="{7C525FD4-0803-4512-A428-64732F6C0BD2}" dt="2023-03-06T14:32:12.665" v="191" actId="478"/>
            <ac:spMkLst>
              <pc:docMk/>
              <pc:sldMasterMk cId="105975586" sldId="2147483648"/>
              <pc:sldLayoutMk cId="2138126642" sldId="2147483663"/>
              <ac:spMk id="4" creationId="{24DD605F-C7FA-D44D-AFD8-0E686475C061}"/>
            </ac:spMkLst>
          </pc:spChg>
          <pc:spChg chg="del">
            <ac:chgData name="Hebel, Dirk" userId="be71dc4c-a1ab-4d0b-926c-9e6c8d0cf5b0" providerId="ADAL" clId="{7C525FD4-0803-4512-A428-64732F6C0BD2}" dt="2023-03-06T14:32:12.665" v="191" actId="478"/>
            <ac:spMkLst>
              <pc:docMk/>
              <pc:sldMasterMk cId="105975586" sldId="2147483648"/>
              <pc:sldLayoutMk cId="2138126642" sldId="2147483663"/>
              <ac:spMk id="5" creationId="{482D41B5-0D68-7841-B752-C9C5103D3E20}"/>
            </ac:spMkLst>
          </pc:spChg>
          <pc:picChg chg="del">
            <ac:chgData name="Hebel, Dirk" userId="be71dc4c-a1ab-4d0b-926c-9e6c8d0cf5b0" providerId="ADAL" clId="{7C525FD4-0803-4512-A428-64732F6C0BD2}" dt="2023-03-06T14:31:27.993" v="181" actId="478"/>
            <ac:picMkLst>
              <pc:docMk/>
              <pc:sldMasterMk cId="105975586" sldId="2147483648"/>
              <pc:sldLayoutMk cId="2138126642" sldId="2147483663"/>
              <ac:picMk id="9" creationId="{E2996D43-8BAC-AD4E-B53E-B09CC91DA719}"/>
            </ac:picMkLst>
          </pc:picChg>
        </pc:sldLayoutChg>
        <pc:sldLayoutChg chg="delSp modSp mod">
          <pc:chgData name="Hebel, Dirk" userId="be71dc4c-a1ab-4d0b-926c-9e6c8d0cf5b0" providerId="ADAL" clId="{7C525FD4-0803-4512-A428-64732F6C0BD2}" dt="2023-03-06T14:32:11.236" v="190" actId="478"/>
          <pc:sldLayoutMkLst>
            <pc:docMk/>
            <pc:sldMasterMk cId="105975586" sldId="2147483648"/>
            <pc:sldLayoutMk cId="1601247768" sldId="2147483664"/>
          </pc:sldLayoutMkLst>
          <pc:spChg chg="del mod">
            <ac:chgData name="Hebel, Dirk" userId="be71dc4c-a1ab-4d0b-926c-9e6c8d0cf5b0" providerId="ADAL" clId="{7C525FD4-0803-4512-A428-64732F6C0BD2}" dt="2023-03-06T14:32:11.236" v="190" actId="478"/>
            <ac:spMkLst>
              <pc:docMk/>
              <pc:sldMasterMk cId="105975586" sldId="2147483648"/>
              <pc:sldLayoutMk cId="1601247768" sldId="2147483664"/>
              <ac:spMk id="4" creationId="{24DD605F-C7FA-D44D-AFD8-0E686475C061}"/>
            </ac:spMkLst>
          </pc:spChg>
          <pc:spChg chg="del">
            <ac:chgData name="Hebel, Dirk" userId="be71dc4c-a1ab-4d0b-926c-9e6c8d0cf5b0" providerId="ADAL" clId="{7C525FD4-0803-4512-A428-64732F6C0BD2}" dt="2023-03-06T14:32:11.236" v="190" actId="478"/>
            <ac:spMkLst>
              <pc:docMk/>
              <pc:sldMasterMk cId="105975586" sldId="2147483648"/>
              <pc:sldLayoutMk cId="1601247768" sldId="2147483664"/>
              <ac:spMk id="5" creationId="{482D41B5-0D68-7841-B752-C9C5103D3E20}"/>
            </ac:spMkLst>
          </pc:spChg>
          <pc:picChg chg="del">
            <ac:chgData name="Hebel, Dirk" userId="be71dc4c-a1ab-4d0b-926c-9e6c8d0cf5b0" providerId="ADAL" clId="{7C525FD4-0803-4512-A428-64732F6C0BD2}" dt="2023-03-06T14:31:27.232" v="180" actId="478"/>
            <ac:picMkLst>
              <pc:docMk/>
              <pc:sldMasterMk cId="105975586" sldId="2147483648"/>
              <pc:sldLayoutMk cId="1601247768" sldId="2147483664"/>
              <ac:picMk id="9" creationId="{5EB36EE2-1B0B-F649-BEA2-36F5394675CB}"/>
            </ac:picMkLst>
          </pc:picChg>
        </pc:sldLayoutChg>
        <pc:sldLayoutChg chg="delSp mod">
          <pc:chgData name="Hebel, Dirk" userId="be71dc4c-a1ab-4d0b-926c-9e6c8d0cf5b0" providerId="ADAL" clId="{7C525FD4-0803-4512-A428-64732F6C0BD2}" dt="2023-03-06T14:31:55.504" v="185" actId="478"/>
          <pc:sldLayoutMkLst>
            <pc:docMk/>
            <pc:sldMasterMk cId="105975586" sldId="2147483648"/>
            <pc:sldLayoutMk cId="720919350" sldId="2147483665"/>
          </pc:sldLayoutMkLst>
          <pc:spChg chg="del">
            <ac:chgData name="Hebel, Dirk" userId="be71dc4c-a1ab-4d0b-926c-9e6c8d0cf5b0" providerId="ADAL" clId="{7C525FD4-0803-4512-A428-64732F6C0BD2}" dt="2023-03-06T14:31:55.504" v="185" actId="478"/>
            <ac:spMkLst>
              <pc:docMk/>
              <pc:sldMasterMk cId="105975586" sldId="2147483648"/>
              <pc:sldLayoutMk cId="720919350" sldId="2147483665"/>
              <ac:spMk id="4" creationId="{24DD605F-C7FA-D44D-AFD8-0E686475C061}"/>
            </ac:spMkLst>
          </pc:spChg>
          <pc:spChg chg="del">
            <ac:chgData name="Hebel, Dirk" userId="be71dc4c-a1ab-4d0b-926c-9e6c8d0cf5b0" providerId="ADAL" clId="{7C525FD4-0803-4512-A428-64732F6C0BD2}" dt="2023-03-06T14:31:55.504" v="185" actId="478"/>
            <ac:spMkLst>
              <pc:docMk/>
              <pc:sldMasterMk cId="105975586" sldId="2147483648"/>
              <pc:sldLayoutMk cId="720919350" sldId="2147483665"/>
              <ac:spMk id="5" creationId="{482D41B5-0D68-7841-B752-C9C5103D3E20}"/>
            </ac:spMkLst>
          </pc:spChg>
          <pc:picChg chg="del">
            <ac:chgData name="Hebel, Dirk" userId="be71dc4c-a1ab-4d0b-926c-9e6c8d0cf5b0" providerId="ADAL" clId="{7C525FD4-0803-4512-A428-64732F6C0BD2}" dt="2023-03-06T14:31:23.458" v="176" actId="478"/>
            <ac:picMkLst>
              <pc:docMk/>
              <pc:sldMasterMk cId="105975586" sldId="2147483648"/>
              <pc:sldLayoutMk cId="720919350" sldId="2147483665"/>
              <ac:picMk id="9" creationId="{A8E09553-9831-394F-AB14-CD3149E20F3A}"/>
            </ac:picMkLst>
          </pc:picChg>
        </pc:sldLayoutChg>
        <pc:sldLayoutChg chg="delSp mod">
          <pc:chgData name="Hebel, Dirk" userId="be71dc4c-a1ab-4d0b-926c-9e6c8d0cf5b0" providerId="ADAL" clId="{7C525FD4-0803-4512-A428-64732F6C0BD2}" dt="2023-03-06T14:32:07.157" v="188" actId="478"/>
          <pc:sldLayoutMkLst>
            <pc:docMk/>
            <pc:sldMasterMk cId="105975586" sldId="2147483648"/>
            <pc:sldLayoutMk cId="2614323984" sldId="2147483666"/>
          </pc:sldLayoutMkLst>
          <pc:spChg chg="del">
            <ac:chgData name="Hebel, Dirk" userId="be71dc4c-a1ab-4d0b-926c-9e6c8d0cf5b0" providerId="ADAL" clId="{7C525FD4-0803-4512-A428-64732F6C0BD2}" dt="2023-03-06T14:32:07.157" v="188" actId="478"/>
            <ac:spMkLst>
              <pc:docMk/>
              <pc:sldMasterMk cId="105975586" sldId="2147483648"/>
              <pc:sldLayoutMk cId="2614323984" sldId="2147483666"/>
              <ac:spMk id="3" creationId="{63321F5F-34F6-BB41-8EFD-251D808E40BD}"/>
            </ac:spMkLst>
          </pc:spChg>
          <pc:spChg chg="del">
            <ac:chgData name="Hebel, Dirk" userId="be71dc4c-a1ab-4d0b-926c-9e6c8d0cf5b0" providerId="ADAL" clId="{7C525FD4-0803-4512-A428-64732F6C0BD2}" dt="2023-03-06T14:32:07.157" v="188" actId="478"/>
            <ac:spMkLst>
              <pc:docMk/>
              <pc:sldMasterMk cId="105975586" sldId="2147483648"/>
              <pc:sldLayoutMk cId="2614323984" sldId="2147483666"/>
              <ac:spMk id="4" creationId="{D6908AC6-AB97-6948-A9A4-3F87DFDBFB92}"/>
            </ac:spMkLst>
          </pc:spChg>
          <pc:picChg chg="del">
            <ac:chgData name="Hebel, Dirk" userId="be71dc4c-a1ab-4d0b-926c-9e6c8d0cf5b0" providerId="ADAL" clId="{7C525FD4-0803-4512-A428-64732F6C0BD2}" dt="2023-03-06T14:31:25.131" v="178" actId="478"/>
            <ac:picMkLst>
              <pc:docMk/>
              <pc:sldMasterMk cId="105975586" sldId="2147483648"/>
              <pc:sldLayoutMk cId="2614323984" sldId="2147483666"/>
              <ac:picMk id="9" creationId="{C1C310B4-7D59-B34F-BEE4-6550E69DFBDA}"/>
            </ac:picMkLst>
          </pc:picChg>
        </pc:sldLayoutChg>
        <pc:sldLayoutChg chg="addSp modSp">
          <pc:chgData name="Hebel, Dirk" userId="be71dc4c-a1ab-4d0b-926c-9e6c8d0cf5b0" providerId="ADAL" clId="{7C525FD4-0803-4512-A428-64732F6C0BD2}" dt="2023-03-06T14:40:51.208" v="224"/>
          <pc:sldLayoutMkLst>
            <pc:docMk/>
            <pc:sldMasterMk cId="105975586" sldId="2147483648"/>
            <pc:sldLayoutMk cId="4219804133" sldId="2147483667"/>
          </pc:sldLayoutMkLst>
          <pc:spChg chg="add mod">
            <ac:chgData name="Hebel, Dirk" userId="be71dc4c-a1ab-4d0b-926c-9e6c8d0cf5b0" providerId="ADAL" clId="{7C525FD4-0803-4512-A428-64732F6C0BD2}" dt="2023-03-06T14:40:51.208" v="224"/>
            <ac:spMkLst>
              <pc:docMk/>
              <pc:sldMasterMk cId="105975586" sldId="2147483648"/>
              <pc:sldLayoutMk cId="4219804133" sldId="2147483667"/>
              <ac:spMk id="4" creationId="{79E80688-C15F-9EB8-B133-A44714954EA6}"/>
            </ac:spMkLst>
          </pc:spChg>
        </pc:sldLayoutChg>
      </pc:sldMasterChg>
      <pc:sldMasterChg chg="delSp mod modSldLayout">
        <pc:chgData name="Hebel, Dirk" userId="be71dc4c-a1ab-4d0b-926c-9e6c8d0cf5b0" providerId="ADAL" clId="{7C525FD4-0803-4512-A428-64732F6C0BD2}" dt="2023-03-06T14:32:18.143" v="194" actId="478"/>
        <pc:sldMasterMkLst>
          <pc:docMk/>
          <pc:sldMasterMk cId="4187452816" sldId="2147483657"/>
        </pc:sldMasterMkLst>
        <pc:spChg chg="del">
          <ac:chgData name="Hebel, Dirk" userId="be71dc4c-a1ab-4d0b-926c-9e6c8d0cf5b0" providerId="ADAL" clId="{7C525FD4-0803-4512-A428-64732F6C0BD2}" dt="2023-03-06T14:32:15.160" v="192" actId="478"/>
          <ac:spMkLst>
            <pc:docMk/>
            <pc:sldMasterMk cId="4187452816" sldId="2147483657"/>
            <ac:spMk id="5" creationId="{4EAE6DFF-7425-6443-BA6F-015829A0914B}"/>
          </ac:spMkLst>
        </pc:spChg>
        <pc:spChg chg="del">
          <ac:chgData name="Hebel, Dirk" userId="be71dc4c-a1ab-4d0b-926c-9e6c8d0cf5b0" providerId="ADAL" clId="{7C525FD4-0803-4512-A428-64732F6C0BD2}" dt="2023-03-06T14:32:15.160" v="192" actId="478"/>
          <ac:spMkLst>
            <pc:docMk/>
            <pc:sldMasterMk cId="4187452816" sldId="2147483657"/>
            <ac:spMk id="10" creationId="{05A146D1-A4D6-2B40-ACC9-C79FB1641FC3}"/>
          </ac:spMkLst>
        </pc:spChg>
        <pc:sldLayoutChg chg="delSp mod">
          <pc:chgData name="Hebel, Dirk" userId="be71dc4c-a1ab-4d0b-926c-9e6c8d0cf5b0" providerId="ADAL" clId="{7C525FD4-0803-4512-A428-64732F6C0BD2}" dt="2023-03-06T14:32:16.568" v="193" actId="478"/>
          <pc:sldLayoutMkLst>
            <pc:docMk/>
            <pc:sldMasterMk cId="4187452816" sldId="2147483657"/>
            <pc:sldLayoutMk cId="3914558232" sldId="2147483659"/>
          </pc:sldLayoutMkLst>
          <pc:spChg chg="del">
            <ac:chgData name="Hebel, Dirk" userId="be71dc4c-a1ab-4d0b-926c-9e6c8d0cf5b0" providerId="ADAL" clId="{7C525FD4-0803-4512-A428-64732F6C0BD2}" dt="2023-03-06T14:32:16.568" v="193" actId="478"/>
            <ac:spMkLst>
              <pc:docMk/>
              <pc:sldMasterMk cId="4187452816" sldId="2147483657"/>
              <pc:sldLayoutMk cId="3914558232" sldId="2147483659"/>
              <ac:spMk id="3" creationId="{6A36031F-4F5C-004A-B807-2FAB31CB3A87}"/>
            </ac:spMkLst>
          </pc:spChg>
          <pc:spChg chg="del">
            <ac:chgData name="Hebel, Dirk" userId="be71dc4c-a1ab-4d0b-926c-9e6c8d0cf5b0" providerId="ADAL" clId="{7C525FD4-0803-4512-A428-64732F6C0BD2}" dt="2023-03-06T14:32:16.568" v="193" actId="478"/>
            <ac:spMkLst>
              <pc:docMk/>
              <pc:sldMasterMk cId="4187452816" sldId="2147483657"/>
              <pc:sldLayoutMk cId="3914558232" sldId="2147483659"/>
              <ac:spMk id="6" creationId="{4D614F01-CAE4-A746-A349-E6A0F87952EA}"/>
            </ac:spMkLst>
          </pc:spChg>
        </pc:sldLayoutChg>
        <pc:sldLayoutChg chg="delSp mod">
          <pc:chgData name="Hebel, Dirk" userId="be71dc4c-a1ab-4d0b-926c-9e6c8d0cf5b0" providerId="ADAL" clId="{7C525FD4-0803-4512-A428-64732F6C0BD2}" dt="2023-03-06T14:32:18.143" v="194" actId="478"/>
          <pc:sldLayoutMkLst>
            <pc:docMk/>
            <pc:sldMasterMk cId="4187452816" sldId="2147483657"/>
            <pc:sldLayoutMk cId="431055838" sldId="2147483660"/>
          </pc:sldLayoutMkLst>
          <pc:spChg chg="del">
            <ac:chgData name="Hebel, Dirk" userId="be71dc4c-a1ab-4d0b-926c-9e6c8d0cf5b0" providerId="ADAL" clId="{7C525FD4-0803-4512-A428-64732F6C0BD2}" dt="2023-03-06T14:32:18.143" v="194" actId="478"/>
            <ac:spMkLst>
              <pc:docMk/>
              <pc:sldMasterMk cId="4187452816" sldId="2147483657"/>
              <pc:sldLayoutMk cId="431055838" sldId="2147483660"/>
              <ac:spMk id="3" creationId="{7CD12C7D-8F1E-4D4E-822A-49068F193CA1}"/>
            </ac:spMkLst>
          </pc:spChg>
          <pc:spChg chg="del">
            <ac:chgData name="Hebel, Dirk" userId="be71dc4c-a1ab-4d0b-926c-9e6c8d0cf5b0" providerId="ADAL" clId="{7C525FD4-0803-4512-A428-64732F6C0BD2}" dt="2023-03-06T14:32:18.143" v="194" actId="478"/>
            <ac:spMkLst>
              <pc:docMk/>
              <pc:sldMasterMk cId="4187452816" sldId="2147483657"/>
              <pc:sldLayoutMk cId="431055838" sldId="2147483660"/>
              <ac:spMk id="19" creationId="{631D3222-6231-A243-84A8-DC03B6A7579B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AE3FEE-1CC3-8A42-B16F-22650284B6F8}" type="datetimeFigureOut">
              <a:rPr lang="de-DE" smtClean="0"/>
              <a:t>15.12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A7A8E3-216A-8F43-B652-ED7E30B4117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71321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892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783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675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566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457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348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240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132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A7A8E3-216A-8F43-B652-ED7E30B4117E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68947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We are all aware that such connectivity is hard to achieve in our domain.</a:t>
            </a:r>
          </a:p>
          <a:p>
            <a:endParaRPr lang="en-US" sz="1200" dirty="0"/>
          </a:p>
          <a:p>
            <a:r>
              <a:rPr lang="en-US" sz="1200" dirty="0"/>
              <a:t>It is hard to establish plug-and-play interoperability between the many different lab- and analytical devices on one side </a:t>
            </a:r>
          </a:p>
          <a:p>
            <a:r>
              <a:rPr lang="en-US" sz="1200" dirty="0"/>
              <a:t>and all the different applications like SCADA, LIMS, ELN, data-, asset- or service management on the other side.</a:t>
            </a:r>
          </a:p>
          <a:p>
            <a:endParaRPr lang="en-US" sz="1200" dirty="0"/>
          </a:p>
          <a:p>
            <a:r>
              <a:rPr lang="en-US" sz="1200" dirty="0"/>
              <a:t>We, the team behind the LADS OPC-UA Joint Work Group are trying to overcome at least some of the obstacles with an OPC-UA based communication protocol that addresses some of the most important, common use-cases in the laboratory domain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71912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We are all aware that such connectivity is hard to achieve in our domain.</a:t>
            </a:r>
          </a:p>
          <a:p>
            <a:endParaRPr lang="en-US" sz="1200" dirty="0"/>
          </a:p>
          <a:p>
            <a:r>
              <a:rPr lang="en-US" sz="1200" dirty="0"/>
              <a:t>It is hard to establish plug-and-play interoperability between the many different lab- and analytical devices on one side </a:t>
            </a:r>
          </a:p>
          <a:p>
            <a:r>
              <a:rPr lang="en-US" sz="1200" dirty="0"/>
              <a:t>and all the different applications like SCADA, LIMS, ELN, data-, asset- or service management on the other side.</a:t>
            </a:r>
          </a:p>
          <a:p>
            <a:endParaRPr lang="en-US" sz="1200" dirty="0"/>
          </a:p>
          <a:p>
            <a:r>
              <a:rPr lang="en-US" sz="1200" dirty="0"/>
              <a:t>We, the team behind the LADS OPC-UA Joint Work Group are trying to overcome at least some of the obstacles with an OPC-UA based communication protocol that addresses some of the most important, common use-cases in the laboratory domain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05612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We are all aware that such connectivity is hard to achieve in our domain.</a:t>
            </a:r>
          </a:p>
          <a:p>
            <a:endParaRPr lang="en-US" sz="1200" dirty="0"/>
          </a:p>
          <a:p>
            <a:r>
              <a:rPr lang="en-US" sz="1200" dirty="0"/>
              <a:t>It is hard to establish plug-and-play interoperability between the many different lab- and analytical devices on one side </a:t>
            </a:r>
          </a:p>
          <a:p>
            <a:r>
              <a:rPr lang="en-US" sz="1200" dirty="0"/>
              <a:t>and all the different applications like SCADA, LIMS, ELN, data-, asset- or service management on the other side.</a:t>
            </a:r>
          </a:p>
          <a:p>
            <a:endParaRPr lang="en-US" sz="1200" dirty="0"/>
          </a:p>
          <a:p>
            <a:r>
              <a:rPr lang="en-US" sz="1200" dirty="0"/>
              <a:t>We, the team behind the LADS OPC-UA Joint Work Group are trying to overcome at least some of the obstacles with an OPC-UA based communication protocol that addresses some of the most important, common use-cases in the laboratory domain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69511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We are all aware that such connectivity is hard to achieve in our domain.</a:t>
            </a:r>
          </a:p>
          <a:p>
            <a:endParaRPr lang="en-US" sz="1200" dirty="0"/>
          </a:p>
          <a:p>
            <a:r>
              <a:rPr lang="en-US" sz="1200" dirty="0"/>
              <a:t>It is hard to establish plug-and-play interoperability between the many different lab- and analytical devices on one side </a:t>
            </a:r>
          </a:p>
          <a:p>
            <a:r>
              <a:rPr lang="en-US" sz="1200" dirty="0"/>
              <a:t>and all the different applications like SCADA, LIMS, ELN, data-, asset- or service management on the other side.</a:t>
            </a:r>
          </a:p>
          <a:p>
            <a:endParaRPr lang="en-US" sz="1200" dirty="0"/>
          </a:p>
          <a:p>
            <a:r>
              <a:rPr lang="en-US" sz="1200" dirty="0"/>
              <a:t>We, the team behind the LADS OPC-UA Joint Work Group are trying to overcome at least some of the obstacles with an OPC-UA based communication protocol that addresses some of the most important, common use-cases in the laboratory domain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60719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We are all aware that such connectivity is hard to achieve in our domain.</a:t>
            </a:r>
          </a:p>
          <a:p>
            <a:endParaRPr lang="en-US" sz="1200" dirty="0"/>
          </a:p>
          <a:p>
            <a:r>
              <a:rPr lang="en-US" sz="1200" dirty="0"/>
              <a:t>It is hard to establish plug-and-play interoperability between the many different lab- and analytical devices on one side </a:t>
            </a:r>
          </a:p>
          <a:p>
            <a:r>
              <a:rPr lang="en-US" sz="1200" dirty="0"/>
              <a:t>and all the different applications like SCADA, LIMS, ELN, data-, asset- or service management on the other side.</a:t>
            </a:r>
          </a:p>
          <a:p>
            <a:endParaRPr lang="en-US" sz="1200" dirty="0"/>
          </a:p>
          <a:p>
            <a:r>
              <a:rPr lang="en-US" sz="1200" dirty="0"/>
              <a:t>We, the team behind the LADS OPC-UA Joint Work Group are trying to overcome at least some of the obstacles with an OPC-UA based communication protocol that addresses some of the most important, common use-cases in the laboratory domain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802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We are all aware that such connectivity is hard to achieve in our domain.</a:t>
            </a:r>
          </a:p>
          <a:p>
            <a:endParaRPr lang="en-US" sz="1200" dirty="0"/>
          </a:p>
          <a:p>
            <a:r>
              <a:rPr lang="en-US" sz="1200" dirty="0"/>
              <a:t>It is hard to establish plug-and-play interoperability between the many different lab- and analytical devices on one side </a:t>
            </a:r>
          </a:p>
          <a:p>
            <a:r>
              <a:rPr lang="en-US" sz="1200" dirty="0"/>
              <a:t>and all the different applications like SCADA, LIMS, ELN, data-, asset- or service management on the other side.</a:t>
            </a:r>
          </a:p>
          <a:p>
            <a:endParaRPr lang="en-US" sz="1200" dirty="0"/>
          </a:p>
          <a:p>
            <a:r>
              <a:rPr lang="en-US" sz="1200" dirty="0"/>
              <a:t>We, the team behind the LADS OPC-UA Joint Work Group are trying to overcome at least some of the obstacles with an OPC-UA based communication protocol that addresses some of the most important, common use-cases in the laboratory domain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62710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We are all aware that such connectivity is hard to achieve in our domain.</a:t>
            </a:r>
          </a:p>
          <a:p>
            <a:endParaRPr lang="en-US" sz="1200" dirty="0"/>
          </a:p>
          <a:p>
            <a:r>
              <a:rPr lang="en-US" sz="1200" dirty="0"/>
              <a:t>It is hard to establish plug-and-play interoperability between the many different lab- and analytical devices on one side </a:t>
            </a:r>
          </a:p>
          <a:p>
            <a:r>
              <a:rPr lang="en-US" sz="1200" dirty="0"/>
              <a:t>and all the different applications like SCADA, LIMS, ELN, data-, asset- or service management on the other side.</a:t>
            </a:r>
          </a:p>
          <a:p>
            <a:endParaRPr lang="en-US" sz="1200" dirty="0"/>
          </a:p>
          <a:p>
            <a:r>
              <a:rPr lang="en-US" sz="1200" dirty="0"/>
              <a:t>We, the team behind the LADS OPC-UA Joint Work Group are trying to overcome at least some of the obstacles with an OPC-UA based communication protocol that addresses some of the most important, common use-cases in the laboratory domain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99818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We are all aware that such connectivity is hard to achieve in our domain.</a:t>
            </a:r>
          </a:p>
          <a:p>
            <a:endParaRPr lang="en-US" sz="1200" dirty="0"/>
          </a:p>
          <a:p>
            <a:r>
              <a:rPr lang="en-US" sz="1200" dirty="0"/>
              <a:t>It is hard to establish plug-and-play interoperability between the many different lab- and analytical devices on one side </a:t>
            </a:r>
          </a:p>
          <a:p>
            <a:r>
              <a:rPr lang="en-US" sz="1200" dirty="0"/>
              <a:t>and all the different applications like SCADA, LIMS, ELN, data-, asset- or service management on the other side.</a:t>
            </a:r>
          </a:p>
          <a:p>
            <a:endParaRPr lang="en-US" sz="1200" dirty="0"/>
          </a:p>
          <a:p>
            <a:r>
              <a:rPr lang="en-US" sz="1200" dirty="0"/>
              <a:t>We, the team behind the LADS OPC-UA Joint Work Group are trying to overcome at least some of the obstacles with an OPC-UA based communication protocol that addresses some of the most important, common use-cases in the laboratory domain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91657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dirty="0"/>
              <a:t>In the next slides I will give you a brief introduction to some of LADS’s high level information modeling patterns:</a:t>
            </a:r>
          </a:p>
          <a:p>
            <a:endParaRPr lang="en-US" sz="1200" dirty="0"/>
          </a:p>
          <a:p>
            <a:r>
              <a:rPr lang="en-US" sz="1200" dirty="0"/>
              <a:t>First, the </a:t>
            </a:r>
            <a:r>
              <a:rPr lang="en-US" sz="1200" b="1" dirty="0"/>
              <a:t>hardware view</a:t>
            </a:r>
            <a:r>
              <a:rPr lang="en-US" sz="1200" dirty="0"/>
              <a:t>, required for all the use cases around asset management including maintenance &amp; servic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he hardware view models </a:t>
            </a:r>
            <a:r>
              <a:rPr lang="en-US" sz="1200" b="1" dirty="0"/>
              <a:t>Devices</a:t>
            </a:r>
            <a:r>
              <a:rPr lang="en-US" sz="1200" dirty="0"/>
              <a:t> and their </a:t>
            </a:r>
            <a:r>
              <a:rPr lang="en-US" sz="1200" b="1" dirty="0"/>
              <a:t>Compon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/>
              <a:t>Devices and Components typically have properties like nameplates, date of installation, condition monitoring, status of calibration &amp; validation and so on.</a:t>
            </a:r>
          </a:p>
          <a:p>
            <a:endParaRPr lang="en-US" sz="1200" dirty="0"/>
          </a:p>
          <a:p>
            <a:r>
              <a:rPr lang="en-US" sz="1200" dirty="0"/>
              <a:t>Second, the </a:t>
            </a:r>
            <a:r>
              <a:rPr lang="en-US" sz="1200" b="1" dirty="0"/>
              <a:t>functional view </a:t>
            </a:r>
            <a:r>
              <a:rPr lang="en-US" sz="1200" b="0" dirty="0"/>
              <a:t>which deals with data relevant</a:t>
            </a:r>
            <a:r>
              <a:rPr lang="en-US" sz="1200" dirty="0"/>
              <a:t> for the operation, automation and orchestration of an instru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/>
              <a:t>A </a:t>
            </a:r>
            <a:r>
              <a:rPr lang="en-US" sz="1200" b="1" dirty="0"/>
              <a:t>Functional Unit </a:t>
            </a:r>
            <a:r>
              <a:rPr lang="en-US" sz="1200" dirty="0"/>
              <a:t>aggregates functions to achieve a specific outcome and is typically utilized by only one user at a tim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Within functional units you will find smaller </a:t>
            </a:r>
            <a:r>
              <a:rPr lang="en-US" sz="1200" b="1" dirty="0"/>
              <a:t>functions</a:t>
            </a:r>
            <a:r>
              <a:rPr lang="en-US" sz="1200" dirty="0"/>
              <a:t> which do the job, like sensor measurements, closed loop controllers and so on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Many laboratory and analytical devices allow the user to define and run programs, also called methods. The </a:t>
            </a:r>
            <a:r>
              <a:rPr lang="en-US" sz="1200" b="1" dirty="0"/>
              <a:t>Program Manager </a:t>
            </a:r>
            <a:r>
              <a:rPr lang="en-US" sz="1200" dirty="0"/>
              <a:t>organizes such program templates, runs programs and finally manages the result data generated during a run. In other words: the program manager provides </a:t>
            </a:r>
            <a:r>
              <a:rPr lang="en-US" sz="1200" b="1" dirty="0"/>
              <a:t>device-level orchestration</a:t>
            </a:r>
            <a:r>
              <a:rPr lang="en-US" sz="1200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175362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dirty="0"/>
              <a:t>In the next slides I will give you a brief introduction to some of LADS’s high level information modeling patterns:</a:t>
            </a:r>
          </a:p>
          <a:p>
            <a:endParaRPr lang="en-US" sz="1200" dirty="0"/>
          </a:p>
          <a:p>
            <a:r>
              <a:rPr lang="en-US" sz="1200" dirty="0"/>
              <a:t>First, the </a:t>
            </a:r>
            <a:r>
              <a:rPr lang="en-US" sz="1200" b="1" dirty="0"/>
              <a:t>hardware view</a:t>
            </a:r>
            <a:r>
              <a:rPr lang="en-US" sz="1200" dirty="0"/>
              <a:t>, required for all the use cases around asset management including maintenance &amp; servic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he hardware view models </a:t>
            </a:r>
            <a:r>
              <a:rPr lang="en-US" sz="1200" b="1" dirty="0"/>
              <a:t>Devices</a:t>
            </a:r>
            <a:r>
              <a:rPr lang="en-US" sz="1200" dirty="0"/>
              <a:t> and their </a:t>
            </a:r>
            <a:r>
              <a:rPr lang="en-US" sz="1200" b="1" dirty="0"/>
              <a:t>Compon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/>
              <a:t>Devices and Components typically have properties like nameplates, date of installation, condition monitoring, status of calibration &amp; validation and so on.</a:t>
            </a:r>
          </a:p>
          <a:p>
            <a:endParaRPr lang="en-US" sz="1200" dirty="0"/>
          </a:p>
          <a:p>
            <a:r>
              <a:rPr lang="en-US" sz="1200" dirty="0"/>
              <a:t>Second, the </a:t>
            </a:r>
            <a:r>
              <a:rPr lang="en-US" sz="1200" b="1" dirty="0"/>
              <a:t>functional view </a:t>
            </a:r>
            <a:r>
              <a:rPr lang="en-US" sz="1200" b="0" dirty="0"/>
              <a:t>which deals with data relevant</a:t>
            </a:r>
            <a:r>
              <a:rPr lang="en-US" sz="1200" dirty="0"/>
              <a:t> for the operation, automation and orchestration of an instru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/>
              <a:t>A </a:t>
            </a:r>
            <a:r>
              <a:rPr lang="en-US" sz="1200" b="1" dirty="0"/>
              <a:t>Functional Unit </a:t>
            </a:r>
            <a:r>
              <a:rPr lang="en-US" sz="1200" dirty="0"/>
              <a:t>aggregates functions to achieve a specific outcome and is typically utilized by only one user at a tim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Within functional units you will find smaller </a:t>
            </a:r>
            <a:r>
              <a:rPr lang="en-US" sz="1200" b="1" dirty="0"/>
              <a:t>functions</a:t>
            </a:r>
            <a:r>
              <a:rPr lang="en-US" sz="1200" dirty="0"/>
              <a:t> which do the job, like sensor measurements, closed loop controllers and so on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Many laboratory and analytical devices allow the user to define and run programs, also called methods. The </a:t>
            </a:r>
            <a:r>
              <a:rPr lang="en-US" sz="1200" b="1" dirty="0"/>
              <a:t>Program Manager </a:t>
            </a:r>
            <a:r>
              <a:rPr lang="en-US" sz="1200" dirty="0"/>
              <a:t>organizes such program templates, runs programs and finally manages the result data generated during a run. In other words: the program manager provides </a:t>
            </a:r>
            <a:r>
              <a:rPr lang="en-US" sz="1200" b="1" dirty="0"/>
              <a:t>device-level orchestration</a:t>
            </a:r>
            <a:r>
              <a:rPr lang="en-US" sz="1200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18533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We are all aware that such connectivity is hard to achieve in our domain.</a:t>
            </a:r>
          </a:p>
          <a:p>
            <a:endParaRPr lang="en-US" sz="1200" dirty="0"/>
          </a:p>
          <a:p>
            <a:r>
              <a:rPr lang="en-US" sz="1200" dirty="0"/>
              <a:t>It is hard to establish plug-and-play interoperability between the many different lab- and analytical devices on one side </a:t>
            </a:r>
          </a:p>
          <a:p>
            <a:r>
              <a:rPr lang="en-US" sz="1200" dirty="0"/>
              <a:t>and all the different applications like SCADA, LIMS, ELN, data-, asset- or service management on the other side.</a:t>
            </a:r>
          </a:p>
          <a:p>
            <a:endParaRPr lang="en-US" sz="1200" dirty="0"/>
          </a:p>
          <a:p>
            <a:r>
              <a:rPr lang="en-US" sz="1200" dirty="0"/>
              <a:t>We, the team behind the LADS OPC-UA Joint Work Group are trying to overcome at least some of the obstacles with an OPC-UA based communication protocol that addresses some of the most important, common use-cases in the laboratory domain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527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dirty="0"/>
              <a:t>In the next slides I will give you a brief introduction to some of LADS’s high level information modeling patterns:</a:t>
            </a:r>
          </a:p>
          <a:p>
            <a:endParaRPr lang="en-US" sz="1200" dirty="0"/>
          </a:p>
          <a:p>
            <a:r>
              <a:rPr lang="en-US" sz="1200" dirty="0"/>
              <a:t>First, the </a:t>
            </a:r>
            <a:r>
              <a:rPr lang="en-US" sz="1200" b="1" dirty="0"/>
              <a:t>hardware view</a:t>
            </a:r>
            <a:r>
              <a:rPr lang="en-US" sz="1200" dirty="0"/>
              <a:t>, required for all the use cases around asset management including maintenance &amp; servic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he hardware view models </a:t>
            </a:r>
            <a:r>
              <a:rPr lang="en-US" sz="1200" b="1" dirty="0"/>
              <a:t>Devices</a:t>
            </a:r>
            <a:r>
              <a:rPr lang="en-US" sz="1200" dirty="0"/>
              <a:t> and their </a:t>
            </a:r>
            <a:r>
              <a:rPr lang="en-US" sz="1200" b="1" dirty="0"/>
              <a:t>Compon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/>
              <a:t>Devices and Components typically have properties like nameplates, date of installation, condition monitoring, status of calibration &amp; validation and so on.</a:t>
            </a:r>
          </a:p>
          <a:p>
            <a:endParaRPr lang="en-US" sz="1200" dirty="0"/>
          </a:p>
          <a:p>
            <a:r>
              <a:rPr lang="en-US" sz="1200" dirty="0"/>
              <a:t>Second, the </a:t>
            </a:r>
            <a:r>
              <a:rPr lang="en-US" sz="1200" b="1" dirty="0"/>
              <a:t>functional view </a:t>
            </a:r>
            <a:r>
              <a:rPr lang="en-US" sz="1200" b="0" dirty="0"/>
              <a:t>which deals with data relevant</a:t>
            </a:r>
            <a:r>
              <a:rPr lang="en-US" sz="1200" dirty="0"/>
              <a:t> for the operation, automation and orchestration of an instru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/>
              <a:t>A </a:t>
            </a:r>
            <a:r>
              <a:rPr lang="en-US" sz="1200" b="1" dirty="0"/>
              <a:t>Functional Unit </a:t>
            </a:r>
            <a:r>
              <a:rPr lang="en-US" sz="1200" dirty="0"/>
              <a:t>aggregates functions to achieve a specific outcome and is typically utilized by only one user at a tim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Within functional units you will find smaller </a:t>
            </a:r>
            <a:r>
              <a:rPr lang="en-US" sz="1200" b="1" dirty="0"/>
              <a:t>functions</a:t>
            </a:r>
            <a:r>
              <a:rPr lang="en-US" sz="1200" dirty="0"/>
              <a:t> which do the job, like sensor measurements, closed loop controllers and so on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Many laboratory and analytical devices allow the user to define and run programs, also called methods. The </a:t>
            </a:r>
            <a:r>
              <a:rPr lang="en-US" sz="1200" b="1" dirty="0"/>
              <a:t>Program Manager </a:t>
            </a:r>
            <a:r>
              <a:rPr lang="en-US" sz="1200" dirty="0"/>
              <a:t>organizes such program templates, runs programs and finally manages the result data generated during a run. In other words: the program manager provides </a:t>
            </a:r>
            <a:r>
              <a:rPr lang="en-US" sz="1200" b="1" dirty="0"/>
              <a:t>device-level orchestration</a:t>
            </a:r>
            <a:r>
              <a:rPr lang="en-US" sz="1200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377818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dirty="0"/>
              <a:t>In the next slides I will give you a brief introduction to some of LADS’s high level information modeling patterns:</a:t>
            </a:r>
          </a:p>
          <a:p>
            <a:endParaRPr lang="en-US" sz="1200" dirty="0"/>
          </a:p>
          <a:p>
            <a:r>
              <a:rPr lang="en-US" sz="1200" dirty="0"/>
              <a:t>First, the </a:t>
            </a:r>
            <a:r>
              <a:rPr lang="en-US" sz="1200" b="1" dirty="0"/>
              <a:t>hardware view</a:t>
            </a:r>
            <a:r>
              <a:rPr lang="en-US" sz="1200" dirty="0"/>
              <a:t>, required for all the use cases around asset management including maintenance &amp; servic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he hardware view models </a:t>
            </a:r>
            <a:r>
              <a:rPr lang="en-US" sz="1200" b="1" dirty="0"/>
              <a:t>Devices</a:t>
            </a:r>
            <a:r>
              <a:rPr lang="en-US" sz="1200" dirty="0"/>
              <a:t> and their </a:t>
            </a:r>
            <a:r>
              <a:rPr lang="en-US" sz="1200" b="1" dirty="0"/>
              <a:t>Compon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/>
              <a:t>Devices and Components typically have properties like nameplates, date of installation, condition monitoring, status of calibration &amp; validation and so on.</a:t>
            </a:r>
          </a:p>
          <a:p>
            <a:endParaRPr lang="en-US" sz="1200" dirty="0"/>
          </a:p>
          <a:p>
            <a:r>
              <a:rPr lang="en-US" sz="1200" dirty="0"/>
              <a:t>Second, the </a:t>
            </a:r>
            <a:r>
              <a:rPr lang="en-US" sz="1200" b="1" dirty="0"/>
              <a:t>functional view </a:t>
            </a:r>
            <a:r>
              <a:rPr lang="en-US" sz="1200" b="0" dirty="0"/>
              <a:t>which deals with data relevant</a:t>
            </a:r>
            <a:r>
              <a:rPr lang="en-US" sz="1200" dirty="0"/>
              <a:t> for the operation, automation and orchestration of an instru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/>
              <a:t>A </a:t>
            </a:r>
            <a:r>
              <a:rPr lang="en-US" sz="1200" b="1" dirty="0"/>
              <a:t>Functional Unit </a:t>
            </a:r>
            <a:r>
              <a:rPr lang="en-US" sz="1200" dirty="0"/>
              <a:t>aggregates functions to achieve a specific outcome and is typically utilized by only one user at a tim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Within functional units you will find smaller </a:t>
            </a:r>
            <a:r>
              <a:rPr lang="en-US" sz="1200" b="1" dirty="0"/>
              <a:t>functions</a:t>
            </a:r>
            <a:r>
              <a:rPr lang="en-US" sz="1200" dirty="0"/>
              <a:t> which do the job, like sensor measurements, closed loop controllers and so on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Many laboratory and analytical devices allow the user to define and run programs, also called methods. The </a:t>
            </a:r>
            <a:r>
              <a:rPr lang="en-US" sz="1200" b="1" dirty="0"/>
              <a:t>Program Manager </a:t>
            </a:r>
            <a:r>
              <a:rPr lang="en-US" sz="1200" dirty="0"/>
              <a:t>organizes such program templates, runs programs and finally manages the result data generated during a run. In other words: the program manager provides </a:t>
            </a:r>
            <a:r>
              <a:rPr lang="en-US" sz="1200" b="1" dirty="0"/>
              <a:t>device-level orchestration</a:t>
            </a:r>
            <a:r>
              <a:rPr lang="en-US" sz="1200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917645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You might remember the various laboratory instruments with LADS information models that I presented a few minutes ago.</a:t>
            </a:r>
          </a:p>
          <a:p>
            <a:endParaRPr lang="en-US" noProof="0" dirty="0"/>
          </a:p>
          <a:p>
            <a:r>
              <a:rPr lang="en-US" noProof="0" dirty="0"/>
              <a:t>LADS OPC UA allows for standardized integration of these instruments into automation applications, leading to several benefits, including:</a:t>
            </a:r>
          </a:p>
          <a:p>
            <a:endParaRPr lang="en-US" noProof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Better reproducibility of process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Improved data integr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Increased efficienc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Automation of tedious operations, and more.</a:t>
            </a:r>
          </a:p>
          <a:p>
            <a:pPr marL="0" indent="0">
              <a:buFontTx/>
              <a:buNone/>
            </a:pPr>
            <a:r>
              <a:rPr lang="en-US" noProof="0" dirty="0"/>
              <a:t>Last but not least, increased automation frees up valuable human resources, enabling them to focus on higher-value tasks.</a:t>
            </a:r>
          </a:p>
          <a:p>
            <a:endParaRPr lang="en-US" noProof="0" dirty="0"/>
          </a:p>
          <a:p>
            <a:r>
              <a:rPr lang="en-US" noProof="0" dirty="0"/>
              <a:t>However, upon closer examination, we realize that most equipment was not originally designed for automation integration but for manual operation by human operators.</a:t>
            </a:r>
          </a:p>
          <a:p>
            <a:endParaRPr lang="en-US" noProof="0" dirty="0"/>
          </a:p>
          <a:p>
            <a:r>
              <a:rPr lang="en-US" b="0" i="0" u="none" strike="noStrike" noProof="0" dirty="0">
                <a:solidFill>
                  <a:srgbClr val="374151"/>
                </a:solidFill>
                <a:effectLst/>
                <a:latin typeface="Söhne"/>
              </a:rPr>
              <a:t>This presents us with a challenging situation that requir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Automation of workflows with instruments not initially designed for automa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Maintaining high flexibility due to frequent changes in laboratory workflow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Ensuring close collaboration with human operators.</a:t>
            </a:r>
          </a:p>
          <a:p>
            <a:endParaRPr lang="en-US" noProof="0" dirty="0"/>
          </a:p>
          <a:p>
            <a:r>
              <a:rPr lang="en-US" noProof="0" dirty="0"/>
              <a:t>To meet these demands, the integration of collaborative and mobile robots into laboratory workflows becomes essential. </a:t>
            </a:r>
          </a:p>
          <a:p>
            <a:r>
              <a:rPr lang="en-US" noProof="0" dirty="0"/>
              <a:t>By combining automation with human expertise, we can achieve efficient and effective laboratory operations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A7A8E3-216A-8F43-B652-ED7E30B4117E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194821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55487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r>
              <a:rPr lang="en-US" dirty="0"/>
              <a:t>Thank you very much for your interest in LADS OPC UA , </a:t>
            </a:r>
          </a:p>
          <a:p>
            <a:r>
              <a:rPr lang="en-US" dirty="0"/>
              <a:t>The Laboratory and Analytical Device Standard</a:t>
            </a:r>
          </a:p>
          <a:p>
            <a:endParaRPr lang="en-US" dirty="0"/>
          </a:p>
          <a:p>
            <a:r>
              <a:rPr lang="en-US" dirty="0"/>
              <a:t>I’m happy to receive your feedback, discuss your comments and answer your question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2455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We are all aware that such connectivity is hard to achieve in our domain.</a:t>
            </a:r>
          </a:p>
          <a:p>
            <a:endParaRPr lang="en-US" sz="1200" dirty="0"/>
          </a:p>
          <a:p>
            <a:r>
              <a:rPr lang="en-US" sz="1200" dirty="0"/>
              <a:t>It is hard to establish plug-and-play interoperability between the many different lab- and analytical devices on one side </a:t>
            </a:r>
          </a:p>
          <a:p>
            <a:r>
              <a:rPr lang="en-US" sz="1200" dirty="0"/>
              <a:t>and all the different applications like SCADA, LIMS, ELN, data-, asset- or service management on the other side.</a:t>
            </a:r>
          </a:p>
          <a:p>
            <a:endParaRPr lang="en-US" sz="1200" dirty="0"/>
          </a:p>
          <a:p>
            <a:r>
              <a:rPr lang="en-US" sz="1200" dirty="0"/>
              <a:t>We, the team behind the LADS OPC-UA Joint Work Group are trying to overcome at least some of the obstacles with an OPC-UA based communication protocol that addresses some of the most important, common use-cases in the laboratory domain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48992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We are all aware that such connectivity is hard to achieve in our domain.</a:t>
            </a:r>
          </a:p>
          <a:p>
            <a:endParaRPr lang="en-US" sz="1200" dirty="0"/>
          </a:p>
          <a:p>
            <a:r>
              <a:rPr lang="en-US" sz="1200" dirty="0"/>
              <a:t>It is hard to establish plug-and-play interoperability between the many different lab- and analytical devices on one side </a:t>
            </a:r>
          </a:p>
          <a:p>
            <a:r>
              <a:rPr lang="en-US" sz="1200" dirty="0"/>
              <a:t>and all the different applications like SCADA, LIMS, ELN, data-, asset- or service management on the other side.</a:t>
            </a:r>
          </a:p>
          <a:p>
            <a:endParaRPr lang="en-US" sz="1200" dirty="0"/>
          </a:p>
          <a:p>
            <a:r>
              <a:rPr lang="en-US" sz="1200" dirty="0"/>
              <a:t>We, the team behind the LADS OPC-UA Joint Work Group are trying to overcome at least some of the obstacles with an OPC-UA based communication protocol that addresses some of the most important, common use-cases in the laboratory domain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53946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/>
              <a:t>What are the use-cases we are targeting?</a:t>
            </a:r>
          </a:p>
          <a:p>
            <a:endParaRPr lang="en-US" sz="1200"/>
          </a:p>
          <a:p>
            <a:r>
              <a:rPr lang="en-US" sz="1200"/>
              <a:t>First: remote monitoring, alarms &amp; notifications – this is the foundation because if you can’t see what is going on you can not decide or act.</a:t>
            </a:r>
          </a:p>
          <a:p>
            <a:r>
              <a:rPr lang="en-US" sz="1200"/>
              <a:t>Monitoring is complemented by remote control – so you can start or stop functions, change parameters or setpoints, and so on.</a:t>
            </a:r>
          </a:p>
          <a:p>
            <a:r>
              <a:rPr lang="en-US" sz="1200"/>
              <a:t>The remote monitoring and control use-cases are the foundation for automation.</a:t>
            </a:r>
          </a:p>
          <a:p>
            <a:endParaRPr lang="en-US" sz="1200"/>
          </a:p>
          <a:p>
            <a:r>
              <a:rPr lang="en-US" sz="1200"/>
              <a:t>Second: program management and orchestration; for example, listing all the program templates on the instrument, selecting a program to be executed, starting the program run, monitoring the program’s progress and so on.</a:t>
            </a:r>
          </a:p>
          <a:p>
            <a:r>
              <a:rPr lang="en-US" sz="1200"/>
              <a:t>For most devices, especially analyzers, result data is generated. This data usually resides on the instrument before being uploaded to an application.</a:t>
            </a:r>
          </a:p>
          <a:p>
            <a:r>
              <a:rPr lang="en-US" sz="1200"/>
              <a:t>The program-management and result-management use-cases form the basis for orchestrating instruments along workflows.</a:t>
            </a:r>
          </a:p>
          <a:p>
            <a:endParaRPr lang="en-US" sz="1200"/>
          </a:p>
          <a:p>
            <a:r>
              <a:rPr lang="en-US" sz="1200"/>
              <a:t>Third: the use cases required for asset management; such as condition monitoring, maintenance, service, calibration, validation and so on.</a:t>
            </a:r>
          </a:p>
          <a:p>
            <a:r>
              <a:rPr lang="en-US" sz="1200"/>
              <a:t>They are the foundation for business cases such as enhanced serviceability.</a:t>
            </a:r>
          </a:p>
          <a:p>
            <a:endParaRPr lang="en-US" sz="120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Put in a nutshell: LADS supports the use-cases automation, orchestration, service &amp; asset management.</a:t>
            </a:r>
          </a:p>
          <a:p>
            <a:endParaRPr lang="en-US" sz="1200"/>
          </a:p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7553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dirty="0"/>
              <a:t>In the next slides I will give you a brief introduction to some of LADS’s high level information modeling patterns:</a:t>
            </a:r>
          </a:p>
          <a:p>
            <a:endParaRPr lang="en-US" sz="1200" dirty="0"/>
          </a:p>
          <a:p>
            <a:r>
              <a:rPr lang="en-US" sz="1200" dirty="0"/>
              <a:t>First, the </a:t>
            </a:r>
            <a:r>
              <a:rPr lang="en-US" sz="1200" b="1" dirty="0"/>
              <a:t>hardware view</a:t>
            </a:r>
            <a:r>
              <a:rPr lang="en-US" sz="1200" dirty="0"/>
              <a:t>, required for all the use cases around asset management including maintenance &amp; servic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he hardware view models </a:t>
            </a:r>
            <a:r>
              <a:rPr lang="en-US" sz="1200" b="1" dirty="0"/>
              <a:t>Devices</a:t>
            </a:r>
            <a:r>
              <a:rPr lang="en-US" sz="1200" dirty="0"/>
              <a:t> and their </a:t>
            </a:r>
            <a:r>
              <a:rPr lang="en-US" sz="1200" b="1" dirty="0"/>
              <a:t>Compon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/>
              <a:t>Devices and Components typically have properties like nameplates, date of installation, condition monitoring, status of calibration &amp; validation and so on.</a:t>
            </a:r>
          </a:p>
          <a:p>
            <a:endParaRPr lang="en-US" sz="1200" dirty="0"/>
          </a:p>
          <a:p>
            <a:r>
              <a:rPr lang="en-US" sz="1200" dirty="0"/>
              <a:t>Second, the </a:t>
            </a:r>
            <a:r>
              <a:rPr lang="en-US" sz="1200" b="1" dirty="0"/>
              <a:t>functional view </a:t>
            </a:r>
            <a:r>
              <a:rPr lang="en-US" sz="1200" b="0" dirty="0"/>
              <a:t>which deals with data relevant</a:t>
            </a:r>
            <a:r>
              <a:rPr lang="en-US" sz="1200" dirty="0"/>
              <a:t> for the operation, automation and orchestration of an instru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/>
              <a:t>A </a:t>
            </a:r>
            <a:r>
              <a:rPr lang="en-US" sz="1200" b="1" dirty="0"/>
              <a:t>Functional Unit </a:t>
            </a:r>
            <a:r>
              <a:rPr lang="en-US" sz="1200" dirty="0"/>
              <a:t>aggregates functions to achieve a specific outcome and is typically utilized by only one user at a tim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Within functional units you will find smaller </a:t>
            </a:r>
            <a:r>
              <a:rPr lang="en-US" sz="1200" b="1" dirty="0"/>
              <a:t>functions</a:t>
            </a:r>
            <a:r>
              <a:rPr lang="en-US" sz="1200" dirty="0"/>
              <a:t> which do the job, like sensor measurements, closed loop controllers and so on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Many laboratory and analytical devices allow the user to define and run programs, also called methods. The </a:t>
            </a:r>
            <a:r>
              <a:rPr lang="en-US" sz="1200" b="1" dirty="0"/>
              <a:t>Program Manager </a:t>
            </a:r>
            <a:r>
              <a:rPr lang="en-US" sz="1200" dirty="0"/>
              <a:t>organizes such program templates, runs programs and finally manages the result data generated during a run. In other words: the program manager provides </a:t>
            </a:r>
            <a:r>
              <a:rPr lang="en-US" sz="1200" b="1" dirty="0"/>
              <a:t>device-level orchestration</a:t>
            </a:r>
            <a:r>
              <a:rPr lang="en-US" sz="1200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0252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dirty="0"/>
              <a:t>In the next slides I will give you a brief introduction to some of LADS’s high level information modeling patterns:</a:t>
            </a:r>
          </a:p>
          <a:p>
            <a:endParaRPr lang="en-US" sz="1200" dirty="0"/>
          </a:p>
          <a:p>
            <a:r>
              <a:rPr lang="en-US" sz="1200" dirty="0"/>
              <a:t>First, the </a:t>
            </a:r>
            <a:r>
              <a:rPr lang="en-US" sz="1200" b="1" dirty="0"/>
              <a:t>hardware view</a:t>
            </a:r>
            <a:r>
              <a:rPr lang="en-US" sz="1200" dirty="0"/>
              <a:t>, required for all the use cases around asset management including maintenance &amp; servic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he hardware view models </a:t>
            </a:r>
            <a:r>
              <a:rPr lang="en-US" sz="1200" b="1" dirty="0"/>
              <a:t>Devices</a:t>
            </a:r>
            <a:r>
              <a:rPr lang="en-US" sz="1200" dirty="0"/>
              <a:t> and their </a:t>
            </a:r>
            <a:r>
              <a:rPr lang="en-US" sz="1200" b="1" dirty="0"/>
              <a:t>Compon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/>
              <a:t>Devices and Components typically have properties like nameplates, date of installation, condition monitoring, status of calibration &amp; validation and so on.</a:t>
            </a:r>
          </a:p>
          <a:p>
            <a:endParaRPr lang="en-US" sz="1200" dirty="0"/>
          </a:p>
          <a:p>
            <a:r>
              <a:rPr lang="en-US" sz="1200" dirty="0"/>
              <a:t>Second, the </a:t>
            </a:r>
            <a:r>
              <a:rPr lang="en-US" sz="1200" b="1" dirty="0"/>
              <a:t>functional view </a:t>
            </a:r>
            <a:r>
              <a:rPr lang="en-US" sz="1200" b="0" dirty="0"/>
              <a:t>which deals with data relevant</a:t>
            </a:r>
            <a:r>
              <a:rPr lang="en-US" sz="1200" dirty="0"/>
              <a:t> for the operation, automation and orchestration of an instru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/>
              <a:t>A </a:t>
            </a:r>
            <a:r>
              <a:rPr lang="en-US" sz="1200" b="1" dirty="0"/>
              <a:t>Functional Unit </a:t>
            </a:r>
            <a:r>
              <a:rPr lang="en-US" sz="1200" dirty="0"/>
              <a:t>aggregates functions to achieve a specific outcome and is typically utilized by only one user at a tim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Within functional units you will find smaller </a:t>
            </a:r>
            <a:r>
              <a:rPr lang="en-US" sz="1200" b="1" dirty="0"/>
              <a:t>functions</a:t>
            </a:r>
            <a:r>
              <a:rPr lang="en-US" sz="1200" dirty="0"/>
              <a:t> which do the job, like sensor measurements, closed loop controllers and so on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Many laboratory and analytical devices allow the user to define and run programs, also called methods. The </a:t>
            </a:r>
            <a:r>
              <a:rPr lang="en-US" sz="1200" b="1" dirty="0"/>
              <a:t>Program Manager </a:t>
            </a:r>
            <a:r>
              <a:rPr lang="en-US" sz="1200" dirty="0"/>
              <a:t>organizes such program templates, runs programs and finally manages the result data generated during a run. In other words: the program manager provides </a:t>
            </a:r>
            <a:r>
              <a:rPr lang="en-US" sz="1200" b="1" dirty="0"/>
              <a:t>device-level orchestration</a:t>
            </a:r>
            <a:r>
              <a:rPr lang="en-US" sz="1200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18956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We are all aware that such connectivity is hard to achieve in our domain.</a:t>
            </a:r>
          </a:p>
          <a:p>
            <a:endParaRPr lang="en-US" sz="1200" dirty="0"/>
          </a:p>
          <a:p>
            <a:r>
              <a:rPr lang="en-US" sz="1200" dirty="0"/>
              <a:t>It is hard to establish plug-and-play interoperability between the many different lab- and analytical devices on one side </a:t>
            </a:r>
          </a:p>
          <a:p>
            <a:r>
              <a:rPr lang="en-US" sz="1200" dirty="0"/>
              <a:t>and all the different applications like SCADA, LIMS, ELN, data-, asset- or service management on the other side.</a:t>
            </a:r>
          </a:p>
          <a:p>
            <a:endParaRPr lang="en-US" sz="1200" dirty="0"/>
          </a:p>
          <a:p>
            <a:r>
              <a:rPr lang="en-US" sz="1200" dirty="0"/>
              <a:t>We, the team behind the LADS OPC-UA Joint Work Group are trying to overcome at least some of the obstacles with an OPC-UA based communication protocol that addresses some of the most important, common use-cases in the laboratory domain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9482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We are all aware that such connectivity is hard to achieve in our domain.</a:t>
            </a:r>
          </a:p>
          <a:p>
            <a:endParaRPr lang="en-US" sz="1200" dirty="0"/>
          </a:p>
          <a:p>
            <a:r>
              <a:rPr lang="en-US" sz="1200" dirty="0"/>
              <a:t>It is hard to establish plug-and-play interoperability between the many different lab- and analytical devices on one side </a:t>
            </a:r>
          </a:p>
          <a:p>
            <a:r>
              <a:rPr lang="en-US" sz="1200" dirty="0"/>
              <a:t>and all the different applications like SCADA, LIMS, ELN, data-, asset- or service management on the other side.</a:t>
            </a:r>
          </a:p>
          <a:p>
            <a:endParaRPr lang="en-US" sz="1200" dirty="0"/>
          </a:p>
          <a:p>
            <a:r>
              <a:rPr lang="en-US" sz="1200" dirty="0"/>
              <a:t>We, the team behind the LADS OPC-UA Joint Work Group are trying to overcome at least some of the obstacles with an OPC-UA based communication protocol that addresses some of the most important, common use-cases in the laboratory domain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54254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EFABB7D3-4A66-0146-9255-CAABC2D40C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2875" y="1022109"/>
            <a:ext cx="8858250" cy="3603866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9F696057-5400-C642-A58A-718D9D60481F}"/>
              </a:ext>
            </a:extLst>
          </p:cNvPr>
          <p:cNvSpPr/>
          <p:nvPr userDrawn="1"/>
        </p:nvSpPr>
        <p:spPr>
          <a:xfrm>
            <a:off x="611188" y="1268730"/>
            <a:ext cx="7915274" cy="3125333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/>
            <a:endParaRPr lang="de-DE" b="0" i="0" dirty="0">
              <a:latin typeface="Arial Narrow Regular" panose="020B0606020202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9A2A90-81C6-D440-ABEC-4EEEB920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2988" y="1752664"/>
            <a:ext cx="7092950" cy="85566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defRPr sz="2400"/>
            </a:lvl1pPr>
          </a:lstStyle>
          <a:p>
            <a:r>
              <a:rPr lang="de-DE" dirty="0"/>
              <a:t>Name der Veranstaltung oder des Vortrags</a:t>
            </a:r>
            <a:br>
              <a:rPr lang="de-DE" dirty="0"/>
            </a:br>
            <a:endParaRPr lang="en-US" dirty="0"/>
          </a:p>
        </p:txBody>
      </p:sp>
      <p:sp>
        <p:nvSpPr>
          <p:cNvPr id="10" name="Textplatzhalter 24">
            <a:extLst>
              <a:ext uri="{FF2B5EF4-FFF2-40B4-BE49-F238E27FC236}">
                <a16:creationId xmlns:a16="http://schemas.microsoft.com/office/drawing/2014/main" id="{D108B4F1-5B00-2D45-8367-3261473535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2988" y="3588832"/>
            <a:ext cx="7092950" cy="23083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>
              <a:buNone/>
              <a:defRPr sz="1500" b="0" i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sp>
        <p:nvSpPr>
          <p:cNvPr id="11" name="Textplatzhalter 26">
            <a:extLst>
              <a:ext uri="{FF2B5EF4-FFF2-40B4-BE49-F238E27FC236}">
                <a16:creationId xmlns:a16="http://schemas.microsoft.com/office/drawing/2014/main" id="{207D3F35-CB43-5A48-94D9-B84E8E8530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42988" y="3949218"/>
            <a:ext cx="7092950" cy="22782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50000"/>
              </a:lnSpc>
              <a:buNone/>
              <a:defRPr sz="1500" b="0" i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pPr lvl="0"/>
            <a:r>
              <a:rPr lang="de-DE" dirty="0"/>
              <a:t>Ort |  29. September 2020</a:t>
            </a:r>
          </a:p>
        </p:txBody>
      </p:sp>
      <p:sp>
        <p:nvSpPr>
          <p:cNvPr id="12" name="Textplatzhalter 24">
            <a:extLst>
              <a:ext uri="{FF2B5EF4-FFF2-40B4-BE49-F238E27FC236}">
                <a16:creationId xmlns:a16="http://schemas.microsoft.com/office/drawing/2014/main" id="{D5EA7AF0-F7BA-9E4E-B3B3-53ECC87639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2988" y="2788308"/>
            <a:ext cx="7092950" cy="261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700" b="0" i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263281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ABL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79E80688-C15F-9EB8-B133-A44714954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4"/>
            <a:ext cx="2066692" cy="273844"/>
          </a:xfrm>
        </p:spPr>
        <p:txBody>
          <a:bodyPr/>
          <a:lstStyle/>
          <a:p>
            <a:fld id="{DA9A2B99-37D7-E946-830B-7F7D4CF63B8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C5FAC4-B89A-35A4-60D4-E5EC576EE61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8041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638" y="1985051"/>
            <a:ext cx="8352930" cy="1173398"/>
          </a:xfrm>
        </p:spPr>
        <p:txBody>
          <a:bodyPr/>
          <a:lstStyle>
            <a:lvl1pPr>
              <a:defRPr>
                <a:latin typeface="Lucida Sans" pitchFamily="34" charset="0"/>
              </a:defRPr>
            </a:lvl1pPr>
            <a:lvl2pPr>
              <a:defRPr>
                <a:latin typeface="Lucida Sans" pitchFamily="34" charset="0"/>
              </a:defRPr>
            </a:lvl2pPr>
            <a:lvl3pPr>
              <a:defRPr>
                <a:latin typeface="Lucida Sans" pitchFamily="34" charset="0"/>
              </a:defRPr>
            </a:lvl3pPr>
            <a:lvl4pPr>
              <a:defRPr>
                <a:latin typeface="Lucida Sans" pitchFamily="34" charset="0"/>
              </a:defRPr>
            </a:lvl4pPr>
            <a:lvl5pPr>
              <a:defRPr>
                <a:latin typeface="Lucida Sans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Lucida Sans" pitchFamily="34" charset="0"/>
              </a:defRPr>
            </a:lvl1pPr>
          </a:lstStyle>
          <a:p>
            <a:fld id="{AC336EDD-7D0A-40F6-99CD-C63EC60BD89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LADS OPC UA, Dr. Matthias Arnold</a:t>
            </a:r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C93820E7-D89F-E935-6015-0A20DE4844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72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0">
        <p:fade/>
      </p:transition>
    </mc:Choice>
    <mc:Fallback xmlns="">
      <p:transition spd="slow" advTm="0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6491A535-9280-8442-98ED-631872BEB6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2875" y="1022109"/>
            <a:ext cx="8858250" cy="3603866"/>
          </a:xfrm>
          <a:prstGeom prst="rect">
            <a:avLst/>
          </a:prstGeom>
        </p:spPr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8CD3A45-F18D-AA40-9F69-BFF88BA27B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A2B99-37D7-E946-830B-7F7D4CF63B8D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56EC498-3D46-D74E-A54B-F12F697E9B76}"/>
              </a:ext>
            </a:extLst>
          </p:cNvPr>
          <p:cNvSpPr/>
          <p:nvPr userDrawn="1"/>
        </p:nvSpPr>
        <p:spPr>
          <a:xfrm>
            <a:off x="611188" y="1268729"/>
            <a:ext cx="7921624" cy="2893027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de-DE" b="0" i="0" dirty="0">
              <a:latin typeface="Arial Narrow Regular" panose="020B060602020203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3C5C758-3080-8F4D-821A-5A9B0740554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2989" y="1750317"/>
            <a:ext cx="7092950" cy="85843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Mastertitelformat bearbeiten</a:t>
            </a:r>
            <a:br>
              <a:rPr lang="de-DE" dirty="0"/>
            </a:br>
            <a:endParaRPr lang="en-US" dirty="0"/>
          </a:p>
        </p:txBody>
      </p:sp>
      <p:sp>
        <p:nvSpPr>
          <p:cNvPr id="12" name="Textplatzhalter 24">
            <a:extLst>
              <a:ext uri="{FF2B5EF4-FFF2-40B4-BE49-F238E27FC236}">
                <a16:creationId xmlns:a16="http://schemas.microsoft.com/office/drawing/2014/main" id="{A783C0F2-3690-C34A-B742-6D804BD215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42988" y="2788308"/>
            <a:ext cx="7092951" cy="10614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700" b="0" i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755059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17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9FEED7F-12C4-724B-A1A4-92782C137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A2B99-37D7-E946-830B-7F7D4CF63B8D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Titelplatzhalter 9">
            <a:extLst>
              <a:ext uri="{FF2B5EF4-FFF2-40B4-BE49-F238E27FC236}">
                <a16:creationId xmlns:a16="http://schemas.microsoft.com/office/drawing/2014/main" id="{0EE6BD84-F7C6-BE47-97DF-EAFFF2F62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0" y="1026000"/>
            <a:ext cx="7912800" cy="69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C9224DAE-9A24-E041-AA09-CD049AB3CA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1028" y="1851024"/>
            <a:ext cx="7913613" cy="27757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EBC23F2-B250-9E5C-75D1-E0C62F15C82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3457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Text_17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9FEED7F-12C4-724B-A1A4-92782C137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A2B99-37D7-E946-830B-7F7D4CF63B8D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Titelplatzhalter 9">
            <a:extLst>
              <a:ext uri="{FF2B5EF4-FFF2-40B4-BE49-F238E27FC236}">
                <a16:creationId xmlns:a16="http://schemas.microsoft.com/office/drawing/2014/main" id="{0EE6BD84-F7C6-BE47-97DF-EAFFF2F62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1026000"/>
            <a:ext cx="7914162" cy="6948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EBD27466-66FF-4043-AB92-AB67CCF2C24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000" y="1851024"/>
            <a:ext cx="2775852" cy="277584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5F5FFD8D-AA91-9F49-AF32-E2CFA1ABFD1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66160" y="1850399"/>
            <a:ext cx="4960002" cy="2776465"/>
          </a:xfr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70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17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spcAft>
                <a:spcPts val="600"/>
              </a:spcAft>
              <a:defRPr sz="17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spcAft>
                <a:spcPts val="600"/>
              </a:spcAft>
              <a:defRPr sz="1500">
                <a:solidFill>
                  <a:schemeClr val="accent3">
                    <a:lumMod val="50000"/>
                  </a:schemeClr>
                </a:solidFill>
              </a:defRPr>
            </a:lvl4pPr>
          </a:lstStyle>
          <a:p>
            <a:r>
              <a:rPr lang="de-DE" dirty="0"/>
              <a:t>Hier Hinweis zu Bild oder Grafik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F31FD32-016E-A19F-A94D-DCB19906DDD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9193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orma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9FEED7F-12C4-724B-A1A4-92782C137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A2B99-37D7-E946-830B-7F7D4CF63B8D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Titelplatzhalter 9">
            <a:extLst>
              <a:ext uri="{FF2B5EF4-FFF2-40B4-BE49-F238E27FC236}">
                <a16:creationId xmlns:a16="http://schemas.microsoft.com/office/drawing/2014/main" id="{0EE6BD84-F7C6-BE47-97DF-EAFFF2F62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0" y="1026000"/>
            <a:ext cx="7914162" cy="69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0FABD926-4976-4B44-921C-9719E5E78A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2000" y="1851024"/>
            <a:ext cx="7914162" cy="2556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CEFDAB43-C6B7-264C-9ADC-126D45865DD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5600" y="4449763"/>
            <a:ext cx="7910562" cy="174625"/>
          </a:xfrm>
        </p:spPr>
        <p:txBody>
          <a:bodyPr/>
          <a:lstStyle>
            <a:lvl1pPr marL="0" indent="0">
              <a:buNone/>
              <a:defRPr sz="1000" b="0" i="1">
                <a:solidFill>
                  <a:srgbClr val="0070C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BF0768F-8088-096F-165B-152ADFFE55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9415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platzierung/Farbmu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11732F-5BA4-014A-84C2-ED5E28FEA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F1239B9-6AAB-D04C-8B47-3862BCED95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A2B99-37D7-E946-830B-7F7D4CF63B8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F0F328C2-B0CC-9F4C-9C8A-BB803AF50A0A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11028" y="1845828"/>
            <a:ext cx="3389472" cy="2775599"/>
          </a:xfrm>
        </p:spPr>
        <p:txBody>
          <a:bodyPr/>
          <a:lstStyle>
            <a:lvl1pPr>
              <a:defRPr sz="140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4791C5D-B51C-77A7-09AA-7D9D065F0A0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43239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platzierung/Farbmu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11732F-5BA4-014A-84C2-ED5E28FEA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F1239B9-6AAB-D04C-8B47-3862BCED95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A2B99-37D7-E946-830B-7F7D4CF63B8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abellenplatzhalter 18">
            <a:extLst>
              <a:ext uri="{FF2B5EF4-FFF2-40B4-BE49-F238E27FC236}">
                <a16:creationId xmlns:a16="http://schemas.microsoft.com/office/drawing/2014/main" id="{8D6B41E4-A871-B141-A131-54DFFCC131AE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11188" y="1850399"/>
            <a:ext cx="7912800" cy="2775576"/>
          </a:xfrm>
        </p:spPr>
        <p:txBody>
          <a:bodyPr/>
          <a:lstStyle>
            <a:lvl1pPr>
              <a:defRPr sz="1400" baseline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D8CAB2F-AAD3-A4E7-84CB-71F9FDDAF07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0716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15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AC0AF7A-4245-6347-B6B6-18CF6B0B4C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1999" y="1850400"/>
            <a:ext cx="7912800" cy="2781036"/>
          </a:xfrm>
        </p:spPr>
        <p:txBody>
          <a:bodyPr lIns="0" tIns="0" rIns="0" bIns="0"/>
          <a:lstStyle>
            <a:lvl1pPr marL="0" indent="0">
              <a:spcAft>
                <a:spcPts val="400"/>
              </a:spcAft>
              <a:buFont typeface="Wingdings" pitchFamily="2" charset="2"/>
              <a:buNone/>
              <a:tabLst/>
              <a:defRPr sz="15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1588">
              <a:spcAft>
                <a:spcPts val="400"/>
              </a:spcAft>
              <a:tabLst/>
              <a:defRPr sz="1500">
                <a:solidFill>
                  <a:schemeClr val="accent3">
                    <a:lumMod val="50000"/>
                  </a:schemeClr>
                </a:solidFill>
              </a:defRPr>
            </a:lvl2pPr>
            <a:lvl3pPr marL="136525" indent="-131763">
              <a:spcAft>
                <a:spcPts val="400"/>
              </a:spcAft>
              <a:tabLst/>
              <a:defRPr sz="1500">
                <a:solidFill>
                  <a:schemeClr val="accent3">
                    <a:lumMod val="50000"/>
                  </a:schemeClr>
                </a:solidFill>
              </a:defRPr>
            </a:lvl3pPr>
            <a:lvl4pPr marL="268288" indent="-131763">
              <a:spcAft>
                <a:spcPts val="400"/>
              </a:spcAft>
              <a:tabLst/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spcAft>
                <a:spcPts val="400"/>
              </a:spcAft>
              <a:defRPr sz="1400"/>
            </a:lvl5pPr>
            <a:lvl6pPr marL="268288" indent="0">
              <a:spcAft>
                <a:spcPts val="400"/>
              </a:spcAft>
              <a:tabLst/>
              <a:defRPr sz="14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 marL="400050" indent="-131763">
              <a:spcAft>
                <a:spcPts val="400"/>
              </a:spcAft>
              <a:buNone/>
              <a:tabLst/>
              <a:defRPr sz="1400" b="1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8pPr marL="400050" indent="-131763">
              <a:spcAft>
                <a:spcPts val="400"/>
              </a:spcAft>
              <a:tabLst/>
              <a:defRPr sz="1400" b="0" i="0">
                <a:latin typeface="Arial Narrow" panose="020B0604020202020204" pitchFamily="34" charset="0"/>
                <a:cs typeface="Arial Narrow" panose="020B0604020202020204" pitchFamily="34" charset="0"/>
              </a:defRPr>
            </a:lvl8pPr>
            <a:lvl9pPr marL="536575" indent="-136525">
              <a:spcAft>
                <a:spcPts val="400"/>
              </a:spcAft>
              <a:buFont typeface="Wingdings" pitchFamily="2" charset="2"/>
              <a:buChar char="§"/>
              <a:tabLst/>
              <a:defRPr sz="1400" b="0" i="0">
                <a:latin typeface="Arial Narrow" panose="020B0604020202020204" pitchFamily="34" charset="0"/>
                <a:cs typeface="Arial Narrow" panose="020B0604020202020204" pitchFamily="34" charset="0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9FEED7F-12C4-724B-A1A4-92782C137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A2B99-37D7-E946-830B-7F7D4CF63B8D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Titelplatzhalter 9">
            <a:extLst>
              <a:ext uri="{FF2B5EF4-FFF2-40B4-BE49-F238E27FC236}">
                <a16:creationId xmlns:a16="http://schemas.microsoft.com/office/drawing/2014/main" id="{0EE6BD84-F7C6-BE47-97DF-EAFFF2F62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0" y="1026000"/>
            <a:ext cx="7912800" cy="69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F42D960-C51F-7C45-0625-27B3C48B23D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12477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Text_14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9FEED7F-12C4-724B-A1A4-92782C137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A2B99-37D7-E946-830B-7F7D4CF63B8D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Titelplatzhalter 9">
            <a:extLst>
              <a:ext uri="{FF2B5EF4-FFF2-40B4-BE49-F238E27FC236}">
                <a16:creationId xmlns:a16="http://schemas.microsoft.com/office/drawing/2014/main" id="{0EE6BD84-F7C6-BE47-97DF-EAFFF2F62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0" y="1026000"/>
            <a:ext cx="7912800" cy="6948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EBD27466-66FF-4043-AB92-AB67CCF2C24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000" y="1850399"/>
            <a:ext cx="2775852" cy="2776335"/>
          </a:xfrm>
          <a:effectLst/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5F5FFD8D-AA91-9F49-AF32-E2CFA1ABFD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30168" y="1850399"/>
            <a:ext cx="4895994" cy="2776335"/>
          </a:xfrm>
        </p:spPr>
        <p:txBody>
          <a:bodyPr lIns="0" tIns="0" rIns="0" bIns="0"/>
          <a:lstStyle>
            <a:lvl1pPr marL="0" indent="0">
              <a:spcAft>
                <a:spcPts val="400"/>
              </a:spcAft>
              <a:buNone/>
              <a:defRPr sz="150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spcAft>
                <a:spcPts val="400"/>
              </a:spcAft>
              <a:defRPr sz="15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spcAft>
                <a:spcPts val="400"/>
              </a:spcAft>
              <a:defRPr sz="15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spcAft>
                <a:spcPts val="4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spcAft>
                <a:spcPts val="400"/>
              </a:spcAft>
              <a:defRPr sz="1400"/>
            </a:lvl5pPr>
            <a:lvl6pPr marL="358775" indent="-90488">
              <a:spcAft>
                <a:spcPts val="400"/>
              </a:spcAft>
              <a:tabLst/>
              <a:defRPr sz="1400" b="0"/>
            </a:lvl6pPr>
            <a:lvl7pPr marL="400050" indent="-131763">
              <a:spcAft>
                <a:spcPts val="400"/>
              </a:spcAft>
              <a:buNone/>
              <a:tabLst/>
              <a:defRPr sz="1400" b="1"/>
            </a:lvl7pPr>
            <a:lvl8pPr marL="400050" indent="-131763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tabLst/>
              <a:defRPr/>
            </a:lvl8pPr>
            <a:lvl9pPr marL="536575" indent="-13652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tabLst/>
              <a:defRPr b="0" i="0">
                <a:latin typeface="Arial Narrow" panose="020B0604020202020204" pitchFamily="34" charset="0"/>
                <a:cs typeface="Arial Narrow" panose="020B0604020202020204" pitchFamily="34" charset="0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8890BD7-160A-08DB-C2F9-89E8CEDD93D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81266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1C22DA9-B843-BA4B-AF2C-F8BA5F1643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1028" y="1851024"/>
            <a:ext cx="7913613" cy="27757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  <a:p>
            <a:pPr lvl="4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893C55-E5ED-A840-9835-162B94916D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66692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rgbClr val="0070C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fld id="{DA9A2B99-37D7-E946-830B-7F7D4CF63B8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itelplatzhalter 9">
            <a:extLst>
              <a:ext uri="{FF2B5EF4-FFF2-40B4-BE49-F238E27FC236}">
                <a16:creationId xmlns:a16="http://schemas.microsoft.com/office/drawing/2014/main" id="{2370CD38-9B09-7648-B213-B0A049DF2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028" y="1025517"/>
            <a:ext cx="7912800" cy="6941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B59E458-94B1-5D74-9793-044151F3A5B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29338" y="117468"/>
            <a:ext cx="1528774" cy="666698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83428D3-27D9-8A55-9E50-8D481F4AB4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9358" y="4906736"/>
            <a:ext cx="5495692" cy="1351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LADS OPC UA, Dr. Matthias Arn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75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65" r:id="rId4"/>
    <p:sldLayoutId id="2147483653" r:id="rId5"/>
    <p:sldLayoutId id="2147483666" r:id="rId6"/>
    <p:sldLayoutId id="2147483661" r:id="rId7"/>
    <p:sldLayoutId id="2147483664" r:id="rId8"/>
    <p:sldLayoutId id="2147483663" r:id="rId9"/>
    <p:sldLayoutId id="2147483667" r:id="rId10"/>
    <p:sldLayoutId id="2147483668" r:id="rId11"/>
  </p:sldLayoutIdLst>
  <p:hf sldNum="0" hdr="0" dt="0"/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buNone/>
        <a:defRPr sz="2400" b="1" i="0" kern="1200">
          <a:solidFill>
            <a:schemeClr val="tx1"/>
          </a:solidFill>
          <a:latin typeface="Arial Narrow" panose="020B0604020202020204" pitchFamily="34" charset="0"/>
          <a:ea typeface="+mj-ea"/>
          <a:cs typeface="Arial Narrow" panose="020B0604020202020204" pitchFamily="34" charset="0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70C0"/>
        </a:buClr>
        <a:buFont typeface="Wingdings" pitchFamily="2" charset="2"/>
        <a:buNone/>
        <a:tabLst/>
        <a:defRPr sz="1700" b="0" i="0" kern="1200">
          <a:solidFill>
            <a:schemeClr val="accent3">
              <a:lumMod val="50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1pPr>
      <a:lvl2pPr marL="3175" indent="0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70C0"/>
        </a:buClr>
        <a:buFont typeface="Wingdings" pitchFamily="2" charset="2"/>
        <a:buNone/>
        <a:tabLst/>
        <a:defRPr sz="1700" b="1" i="0" kern="1200">
          <a:solidFill>
            <a:schemeClr val="accent3">
              <a:lumMod val="50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2pPr>
      <a:lvl3pPr marL="133350" indent="-128588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itchFamily="2" charset="2"/>
        <a:buChar char="§"/>
        <a:tabLst/>
        <a:defRPr sz="1700" b="0" i="0" kern="1200">
          <a:solidFill>
            <a:schemeClr val="accent3">
              <a:lumMod val="50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3pPr>
      <a:lvl4pPr marL="246063" indent="-112713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itchFamily="2" charset="2"/>
        <a:buChar char="§"/>
        <a:tabLst/>
        <a:defRPr sz="1500" b="0" i="0" kern="1200">
          <a:solidFill>
            <a:schemeClr val="accent3">
              <a:lumMod val="50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4pPr>
      <a:lvl5pPr marL="400050" indent="-133350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itchFamily="2" charset="2"/>
        <a:buChar char="§"/>
        <a:tabLst/>
        <a:defRPr sz="1500" b="0" i="0" kern="1200">
          <a:solidFill>
            <a:schemeClr val="accent3">
              <a:lumMod val="50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5pPr>
      <a:lvl6pPr marL="400050" indent="-131763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itchFamily="2" charset="2"/>
        <a:buNone/>
        <a:tabLst/>
        <a:defRPr sz="1500" b="0" i="0" kern="1200">
          <a:solidFill>
            <a:schemeClr val="accent3">
              <a:lumMod val="50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6pPr>
      <a:lvl7pPr marL="400050" indent="-131763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None/>
        <a:tabLst/>
        <a:defRPr sz="1500" b="1" i="0" kern="1200">
          <a:solidFill>
            <a:schemeClr val="accent3">
              <a:lumMod val="50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7pPr>
      <a:lvl8pPr marL="400050" indent="-131763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itchFamily="2" charset="2"/>
        <a:buChar char="§"/>
        <a:tabLst/>
        <a:defRPr sz="1500" b="0" i="0" kern="1200">
          <a:solidFill>
            <a:schemeClr val="accent3">
              <a:lumMod val="50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8pPr>
      <a:lvl9pPr marL="536575" indent="-136525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itchFamily="2" charset="2"/>
        <a:buChar char="§"/>
        <a:tabLst/>
        <a:defRPr sz="1500" b="0" i="0" kern="1200">
          <a:solidFill>
            <a:schemeClr val="accent3">
              <a:lumMod val="50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0.png"/><Relationship Id="rId13" Type="http://schemas.openxmlformats.org/officeDocument/2006/relationships/image" Target="../media/image330.png"/><Relationship Id="rId18" Type="http://schemas.openxmlformats.org/officeDocument/2006/relationships/image" Target="../media/image380.png"/><Relationship Id="rId26" Type="http://schemas.openxmlformats.org/officeDocument/2006/relationships/image" Target="../media/image30.png"/><Relationship Id="rId3" Type="http://schemas.openxmlformats.org/officeDocument/2006/relationships/notesSlide" Target="../notesSlides/notesSlide10.xml"/><Relationship Id="rId21" Type="http://schemas.openxmlformats.org/officeDocument/2006/relationships/image" Target="../media/image41.png"/><Relationship Id="rId7" Type="http://schemas.openxmlformats.org/officeDocument/2006/relationships/image" Target="../media/image270.png"/><Relationship Id="rId12" Type="http://schemas.openxmlformats.org/officeDocument/2006/relationships/image" Target="../media/image320.png"/><Relationship Id="rId17" Type="http://schemas.openxmlformats.org/officeDocument/2006/relationships/image" Target="../media/image370.png"/><Relationship Id="rId25" Type="http://schemas.openxmlformats.org/officeDocument/2006/relationships/image" Target="../media/image29.png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360.png"/><Relationship Id="rId20" Type="http://schemas.openxmlformats.org/officeDocument/2006/relationships/image" Target="../media/image40.png"/><Relationship Id="rId29" Type="http://schemas.openxmlformats.org/officeDocument/2006/relationships/image" Target="../media/image33.png"/><Relationship Id="rId1" Type="http://schemas.openxmlformats.org/officeDocument/2006/relationships/tags" Target="../tags/tag8.xml"/><Relationship Id="rId6" Type="http://schemas.openxmlformats.org/officeDocument/2006/relationships/image" Target="../media/image260.png"/><Relationship Id="rId11" Type="http://schemas.openxmlformats.org/officeDocument/2006/relationships/image" Target="../media/image310.png"/><Relationship Id="rId24" Type="http://schemas.openxmlformats.org/officeDocument/2006/relationships/image" Target="../media/image28.png"/><Relationship Id="rId5" Type="http://schemas.openxmlformats.org/officeDocument/2006/relationships/image" Target="../media/image250.png"/><Relationship Id="rId15" Type="http://schemas.openxmlformats.org/officeDocument/2006/relationships/image" Target="../media/image350.png"/><Relationship Id="rId23" Type="http://schemas.openxmlformats.org/officeDocument/2006/relationships/image" Target="../media/image27.png"/><Relationship Id="rId28" Type="http://schemas.openxmlformats.org/officeDocument/2006/relationships/image" Target="../media/image32.png"/><Relationship Id="rId10" Type="http://schemas.openxmlformats.org/officeDocument/2006/relationships/image" Target="../media/image300.png"/><Relationship Id="rId19" Type="http://schemas.openxmlformats.org/officeDocument/2006/relationships/image" Target="../media/image39.png"/><Relationship Id="rId4" Type="http://schemas.openxmlformats.org/officeDocument/2006/relationships/image" Target="../media/image25.png"/><Relationship Id="rId9" Type="http://schemas.openxmlformats.org/officeDocument/2006/relationships/image" Target="../media/image290.png"/><Relationship Id="rId14" Type="http://schemas.openxmlformats.org/officeDocument/2006/relationships/image" Target="../media/image340.png"/><Relationship Id="rId22" Type="http://schemas.openxmlformats.org/officeDocument/2006/relationships/image" Target="../media/image26.png"/><Relationship Id="rId27" Type="http://schemas.openxmlformats.org/officeDocument/2006/relationships/image" Target="../media/image31.png"/><Relationship Id="rId30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0.xml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.xml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2.xml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3.xml"/><Relationship Id="rId4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4.xml"/><Relationship Id="rId4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5.xml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png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.xml"/><Relationship Id="rId6" Type="http://schemas.openxmlformats.org/officeDocument/2006/relationships/image" Target="../media/image6.tiff"/><Relationship Id="rId11" Type="http://schemas.openxmlformats.org/officeDocument/2006/relationships/image" Target="../media/image10.png"/><Relationship Id="rId5" Type="http://schemas.openxmlformats.org/officeDocument/2006/relationships/image" Target="../media/image5.png"/><Relationship Id="rId10" Type="http://schemas.openxmlformats.org/officeDocument/2006/relationships/image" Target="../media/image9.png"/><Relationship Id="rId4" Type="http://schemas.openxmlformats.org/officeDocument/2006/relationships/image" Target="../media/image4.jpeg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18" Type="http://schemas.openxmlformats.org/officeDocument/2006/relationships/image" Target="../media/image63.jpeg"/><Relationship Id="rId3" Type="http://schemas.openxmlformats.org/officeDocument/2006/relationships/image" Target="../media/image48.png"/><Relationship Id="rId21" Type="http://schemas.openxmlformats.org/officeDocument/2006/relationships/image" Target="../media/image11.png"/><Relationship Id="rId7" Type="http://schemas.openxmlformats.org/officeDocument/2006/relationships/image" Target="../media/image52.jpeg"/><Relationship Id="rId12" Type="http://schemas.openxmlformats.org/officeDocument/2006/relationships/image" Target="../media/image57.png"/><Relationship Id="rId17" Type="http://schemas.openxmlformats.org/officeDocument/2006/relationships/image" Target="../media/image62.jpeg"/><Relationship Id="rId2" Type="http://schemas.openxmlformats.org/officeDocument/2006/relationships/notesSlide" Target="../notesSlides/notesSlide22.xml"/><Relationship Id="rId16" Type="http://schemas.openxmlformats.org/officeDocument/2006/relationships/image" Target="../media/image61.png"/><Relationship Id="rId20" Type="http://schemas.openxmlformats.org/officeDocument/2006/relationships/image" Target="../media/image65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.jpe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5" Type="http://schemas.openxmlformats.org/officeDocument/2006/relationships/image" Target="../media/image60.png"/><Relationship Id="rId10" Type="http://schemas.openxmlformats.org/officeDocument/2006/relationships/image" Target="../media/image55.jpeg"/><Relationship Id="rId19" Type="http://schemas.openxmlformats.org/officeDocument/2006/relationships/image" Target="../media/image64.jpe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image" Target="../media/image59.png"/><Relationship Id="rId22" Type="http://schemas.openxmlformats.org/officeDocument/2006/relationships/image" Target="../media/image6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70.png"/><Relationship Id="rId12" Type="http://schemas.openxmlformats.org/officeDocument/2006/relationships/image" Target="../media/image75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6.xml"/><Relationship Id="rId6" Type="http://schemas.openxmlformats.org/officeDocument/2006/relationships/image" Target="../media/image69.png"/><Relationship Id="rId11" Type="http://schemas.openxmlformats.org/officeDocument/2006/relationships/image" Target="../media/image74.png"/><Relationship Id="rId5" Type="http://schemas.openxmlformats.org/officeDocument/2006/relationships/image" Target="../media/image68.png"/><Relationship Id="rId10" Type="http://schemas.openxmlformats.org/officeDocument/2006/relationships/image" Target="../media/image73.png"/><Relationship Id="rId4" Type="http://schemas.openxmlformats.org/officeDocument/2006/relationships/image" Target="../media/image67.png"/><Relationship Id="rId9" Type="http://schemas.openxmlformats.org/officeDocument/2006/relationships/image" Target="../media/image72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Dr-Matthias-Arnold/" TargetMode="External"/><Relationship Id="rId3" Type="http://schemas.openxmlformats.org/officeDocument/2006/relationships/notesSlide" Target="../notesSlides/notesSlide24.xml"/><Relationship Id="rId7" Type="http://schemas.openxmlformats.org/officeDocument/2006/relationships/hyperlink" Target="https://www.linkedin.com/company/LADS-OPC-UA/" TargetMode="Externa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7.xml"/><Relationship Id="rId6" Type="http://schemas.openxmlformats.org/officeDocument/2006/relationships/image" Target="../media/image78.png"/><Relationship Id="rId11" Type="http://schemas.openxmlformats.org/officeDocument/2006/relationships/image" Target="../media/image75.png"/><Relationship Id="rId5" Type="http://schemas.openxmlformats.org/officeDocument/2006/relationships/image" Target="../media/image77.png"/><Relationship Id="rId10" Type="http://schemas.openxmlformats.org/officeDocument/2006/relationships/hyperlink" Target="https://www.youtube.com/watch?v=l7jXcO0QH7Y" TargetMode="External"/><Relationship Id="rId4" Type="http://schemas.openxmlformats.org/officeDocument/2006/relationships/image" Target="../media/image76.jpeg"/><Relationship Id="rId9" Type="http://schemas.openxmlformats.org/officeDocument/2006/relationships/hyperlink" Target="https://opcfoundation-events.com/2023/05/12/opc-day-international-2023/#arnold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6" Type="http://schemas.microsoft.com/office/2007/relationships/hdphoto" Target="../media/hdphoto2.wdp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1E655F-4F29-019E-6ED1-0C447EB9B7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666" y="1899363"/>
            <a:ext cx="7852976" cy="276999"/>
          </a:xfrm>
        </p:spPr>
        <p:txBody>
          <a:bodyPr/>
          <a:lstStyle/>
          <a:p>
            <a:r>
              <a:rPr lang="en-US" sz="2800" dirty="0"/>
              <a:t>Pythonic LADS OPC UA Client</a:t>
            </a:r>
            <a:br>
              <a:rPr lang="en-US" sz="2800" dirty="0"/>
            </a:br>
            <a:endParaRPr lang="en-US" sz="280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B8E255D-FA1C-80D4-D0E2-AC52CC9749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1666" y="2571750"/>
            <a:ext cx="6116212" cy="1173398"/>
          </a:xfrm>
        </p:spPr>
        <p:txBody>
          <a:bodyPr/>
          <a:lstStyle/>
          <a:p>
            <a:r>
              <a:rPr lang="en-US" sz="1800" dirty="0">
                <a:latin typeface="+mn-lt"/>
                <a:cs typeface="Arial" panose="020B0604020202020204" pitchFamily="34" charset="0"/>
              </a:rPr>
              <a:t>Dr. Matthias Arnold</a:t>
            </a:r>
            <a:br>
              <a:rPr lang="en-US" sz="1800" dirty="0">
                <a:latin typeface="+mn-lt"/>
                <a:cs typeface="Arial" panose="020B0604020202020204" pitchFamily="34" charset="0"/>
              </a:rPr>
            </a:br>
            <a:r>
              <a:rPr lang="en-US" sz="1800" dirty="0">
                <a:latin typeface="+mn-lt"/>
                <a:cs typeface="Arial" panose="020B0604020202020204" pitchFamily="34" charset="0"/>
              </a:rPr>
              <a:t>Aachen, December 2023</a:t>
            </a:r>
            <a:endParaRPr lang="en-US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8472710-A459-855F-62C4-FA4F8E1005D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700064"/>
      </p:ext>
    </p:extLst>
  </p:cSld>
  <p:clrMapOvr>
    <a:masterClrMapping/>
  </p:clrMapOvr>
  <p:transition advTm="0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9CA49368-DAB9-AEE2-4319-918068830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358" y="851752"/>
            <a:ext cx="8001000" cy="743371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Use-Case: Operation -  LADS Functions</a:t>
            </a:r>
            <a:br>
              <a:rPr lang="en-US" dirty="0">
                <a:solidFill>
                  <a:srgbClr val="0070C0"/>
                </a:solidFill>
              </a:rPr>
            </a:b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32" name="Fußzeilenplatzhalter 31">
            <a:extLst>
              <a:ext uri="{FF2B5EF4-FFF2-40B4-BE49-F238E27FC236}">
                <a16:creationId xmlns:a16="http://schemas.microsoft.com/office/drawing/2014/main" id="{D88D9CE3-D06C-B573-CEF8-78CD354579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B8F7D17B-6EFB-B5BA-61AE-E363CB63139D}"/>
              </a:ext>
            </a:extLst>
          </p:cNvPr>
          <p:cNvGrpSpPr/>
          <p:nvPr/>
        </p:nvGrpSpPr>
        <p:grpSpPr>
          <a:xfrm>
            <a:off x="2803948" y="1382273"/>
            <a:ext cx="3631820" cy="3492003"/>
            <a:chOff x="2599636" y="1200347"/>
            <a:chExt cx="3631820" cy="3492003"/>
          </a:xfrm>
        </p:grpSpPr>
        <p:pic>
          <p:nvPicPr>
            <p:cNvPr id="2" name="Grafik 1">
              <a:extLst>
                <a:ext uri="{FF2B5EF4-FFF2-40B4-BE49-F238E27FC236}">
                  <a16:creationId xmlns:a16="http://schemas.microsoft.com/office/drawing/2014/main" id="{BE86A468-3621-F068-159A-1AA27CE420C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99636" y="1200347"/>
              <a:ext cx="3274695" cy="3469640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Textfeld 6">
                  <a:extLst>
                    <a:ext uri="{FF2B5EF4-FFF2-40B4-BE49-F238E27FC236}">
                      <a16:creationId xmlns:a16="http://schemas.microsoft.com/office/drawing/2014/main" id="{3D4D8CF2-341A-C83E-AC3C-01C07519C05C}"/>
                    </a:ext>
                  </a:extLst>
                </p:cNvPr>
                <p:cNvSpPr txBox="1"/>
                <p:nvPr/>
              </p:nvSpPr>
              <p:spPr>
                <a:xfrm flipH="1">
                  <a:off x="5788475" y="2139970"/>
                  <a:ext cx="400053" cy="31748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noAutofit/>
                </a:bodyPr>
                <a:lstStyle/>
                <a:p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  <a:latin typeface="Segoe UI Emoji" panose="020F0502020204030204" pitchFamily="34" charset="0"/>
                      <a:cs typeface="Segoe UI Emoji" panose="020F0502020204030204" pitchFamily="34" charset="0"/>
                    </a:rPr>
                    <a:t>✔️</a:t>
                  </a:r>
                  <a14:m>
                    <m:oMath xmlns:m="http://schemas.openxmlformats.org/officeDocument/2006/math">
                      <m:r>
                        <a:rPr lang="en-US" i="1" smtClean="0">
                          <a:ln>
                            <a:solidFill>
                              <a:srgbClr val="00B050"/>
                            </a:solidFill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  <a:cs typeface="Segoe UI Emoji" panose="020F0502020204030204" pitchFamily="34" charset="0"/>
                        </a:rPr>
                        <m:t>︎</m:t>
                      </m:r>
                    </m:oMath>
                  </a14:m>
                  <a:endPara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  <a:latin typeface="Segoe UI Emoji" panose="020F0502020204030204" pitchFamily="34" charset="0"/>
                    <a:cs typeface="Segoe UI Emoj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7" name="Textfeld 6">
                  <a:extLst>
                    <a:ext uri="{FF2B5EF4-FFF2-40B4-BE49-F238E27FC236}">
                      <a16:creationId xmlns:a16="http://schemas.microsoft.com/office/drawing/2014/main" id="{3D4D8CF2-341A-C83E-AC3C-01C07519C05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flipH="1">
                  <a:off x="5788475" y="2139970"/>
                  <a:ext cx="400053" cy="317481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Textfeld 13">
                  <a:extLst>
                    <a:ext uri="{FF2B5EF4-FFF2-40B4-BE49-F238E27FC236}">
                      <a16:creationId xmlns:a16="http://schemas.microsoft.com/office/drawing/2014/main" id="{F197B664-7AD1-BFC7-7EF2-DA99043ABE36}"/>
                    </a:ext>
                  </a:extLst>
                </p:cNvPr>
                <p:cNvSpPr txBox="1"/>
                <p:nvPr/>
              </p:nvSpPr>
              <p:spPr>
                <a:xfrm flipH="1">
                  <a:off x="5831403" y="2479194"/>
                  <a:ext cx="400053" cy="31748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noAutofit/>
                </a:bodyPr>
                <a:lstStyle/>
                <a:p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  <a:latin typeface="Segoe UI Emoji" panose="020F0502020204030204" pitchFamily="34" charset="0"/>
                      <a:cs typeface="Segoe UI Emoji" panose="020F0502020204030204" pitchFamily="34" charset="0"/>
                    </a:rPr>
                    <a:t>✔️</a:t>
                  </a:r>
                  <a14:m>
                    <m:oMath xmlns:m="http://schemas.openxmlformats.org/officeDocument/2006/math">
                      <m:r>
                        <a:rPr lang="en-US" i="1" smtClean="0">
                          <a:ln>
                            <a:solidFill>
                              <a:srgbClr val="00B050"/>
                            </a:solidFill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  <a:cs typeface="Segoe UI Emoji" panose="020F0502020204030204" pitchFamily="34" charset="0"/>
                        </a:rPr>
                        <m:t>︎</m:t>
                      </m:r>
                    </m:oMath>
                  </a14:m>
                  <a:endPara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  <a:latin typeface="Segoe UI Emoji" panose="020F0502020204030204" pitchFamily="34" charset="0"/>
                    <a:cs typeface="Segoe UI Emoj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14" name="Textfeld 13">
                  <a:extLst>
                    <a:ext uri="{FF2B5EF4-FFF2-40B4-BE49-F238E27FC236}">
                      <a16:creationId xmlns:a16="http://schemas.microsoft.com/office/drawing/2014/main" id="{F197B664-7AD1-BFC7-7EF2-DA99043ABE3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flipH="1">
                  <a:off x="5831403" y="2479194"/>
                  <a:ext cx="400053" cy="317481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Textfeld 15">
                  <a:extLst>
                    <a:ext uri="{FF2B5EF4-FFF2-40B4-BE49-F238E27FC236}">
                      <a16:creationId xmlns:a16="http://schemas.microsoft.com/office/drawing/2014/main" id="{E70C84C4-9B1B-EAD7-D128-64F572DC26D7}"/>
                    </a:ext>
                  </a:extLst>
                </p:cNvPr>
                <p:cNvSpPr txBox="1"/>
                <p:nvPr/>
              </p:nvSpPr>
              <p:spPr>
                <a:xfrm flipH="1">
                  <a:off x="5747654" y="3703836"/>
                  <a:ext cx="400053" cy="31748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noAutofit/>
                </a:bodyPr>
                <a:lstStyle/>
                <a:p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  <a:latin typeface="Segoe UI Emoji" panose="020F0502020204030204" pitchFamily="34" charset="0"/>
                      <a:cs typeface="Segoe UI Emoji" panose="020F0502020204030204" pitchFamily="34" charset="0"/>
                    </a:rPr>
                    <a:t>✔️</a:t>
                  </a:r>
                  <a14:m>
                    <m:oMath xmlns:m="http://schemas.openxmlformats.org/officeDocument/2006/math">
                      <m:r>
                        <a:rPr lang="en-US" i="1" smtClean="0">
                          <a:ln>
                            <a:solidFill>
                              <a:srgbClr val="00B050"/>
                            </a:solidFill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  <a:cs typeface="Segoe UI Emoji" panose="020F0502020204030204" pitchFamily="34" charset="0"/>
                        </a:rPr>
                        <m:t>︎</m:t>
                      </m:r>
                    </m:oMath>
                  </a14:m>
                  <a:endPara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  <a:latin typeface="Segoe UI Emoji" panose="020F0502020204030204" pitchFamily="34" charset="0"/>
                    <a:cs typeface="Segoe UI Emoj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16" name="Textfeld 15">
                  <a:extLst>
                    <a:ext uri="{FF2B5EF4-FFF2-40B4-BE49-F238E27FC236}">
                      <a16:creationId xmlns:a16="http://schemas.microsoft.com/office/drawing/2014/main" id="{E70C84C4-9B1B-EAD7-D128-64F572DC26D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flipH="1">
                  <a:off x="5747654" y="3703836"/>
                  <a:ext cx="400053" cy="317481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" name="Textfeld 16">
                  <a:extLst>
                    <a:ext uri="{FF2B5EF4-FFF2-40B4-BE49-F238E27FC236}">
                      <a16:creationId xmlns:a16="http://schemas.microsoft.com/office/drawing/2014/main" id="{51221F9A-2B46-4C29-EE7A-0EEEFE8C78B5}"/>
                    </a:ext>
                  </a:extLst>
                </p:cNvPr>
                <p:cNvSpPr txBox="1"/>
                <p:nvPr/>
              </p:nvSpPr>
              <p:spPr>
                <a:xfrm flipH="1">
                  <a:off x="5292559" y="2818418"/>
                  <a:ext cx="400053" cy="31748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noAutofit/>
                </a:bodyPr>
                <a:lstStyle/>
                <a:p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  <a:latin typeface="Segoe UI Emoji" panose="020F0502020204030204" pitchFamily="34" charset="0"/>
                      <a:cs typeface="Segoe UI Emoji" panose="020F0502020204030204" pitchFamily="34" charset="0"/>
                    </a:rPr>
                    <a:t>✔️</a:t>
                  </a:r>
                  <a14:m>
                    <m:oMath xmlns:m="http://schemas.openxmlformats.org/officeDocument/2006/math">
                      <m:r>
                        <a:rPr lang="en-US" i="1" smtClean="0">
                          <a:ln>
                            <a:solidFill>
                              <a:srgbClr val="00B050"/>
                            </a:solidFill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  <a:cs typeface="Segoe UI Emoji" panose="020F0502020204030204" pitchFamily="34" charset="0"/>
                        </a:rPr>
                        <m:t>︎</m:t>
                      </m:r>
                    </m:oMath>
                  </a14:m>
                  <a:endPara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  <a:latin typeface="Segoe UI Emoji" panose="020F0502020204030204" pitchFamily="34" charset="0"/>
                    <a:cs typeface="Segoe UI Emoj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17" name="Textfeld 16">
                  <a:extLst>
                    <a:ext uri="{FF2B5EF4-FFF2-40B4-BE49-F238E27FC236}">
                      <a16:creationId xmlns:a16="http://schemas.microsoft.com/office/drawing/2014/main" id="{51221F9A-2B46-4C29-EE7A-0EEEFE8C78B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flipH="1">
                  <a:off x="5292559" y="2818418"/>
                  <a:ext cx="400053" cy="317481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Textfeld 17">
                  <a:extLst>
                    <a:ext uri="{FF2B5EF4-FFF2-40B4-BE49-F238E27FC236}">
                      <a16:creationId xmlns:a16="http://schemas.microsoft.com/office/drawing/2014/main" id="{7C376885-3483-BE60-DD10-155239F98FC9}"/>
                    </a:ext>
                  </a:extLst>
                </p:cNvPr>
                <p:cNvSpPr txBox="1"/>
                <p:nvPr/>
              </p:nvSpPr>
              <p:spPr>
                <a:xfrm flipH="1">
                  <a:off x="5311575" y="4042953"/>
                  <a:ext cx="400053" cy="31748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noAutofit/>
                </a:bodyPr>
                <a:lstStyle/>
                <a:p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  <a:latin typeface="Segoe UI Emoji" panose="020F0502020204030204" pitchFamily="34" charset="0"/>
                      <a:cs typeface="Segoe UI Emoji" panose="020F0502020204030204" pitchFamily="34" charset="0"/>
                    </a:rPr>
                    <a:t>✔️</a:t>
                  </a:r>
                  <a14:m>
                    <m:oMath xmlns:m="http://schemas.openxmlformats.org/officeDocument/2006/math">
                      <m:r>
                        <a:rPr lang="en-US" i="1" smtClean="0">
                          <a:ln>
                            <a:solidFill>
                              <a:srgbClr val="00B050"/>
                            </a:solidFill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  <a:cs typeface="Segoe UI Emoji" panose="020F0502020204030204" pitchFamily="34" charset="0"/>
                        </a:rPr>
                        <m:t>︎</m:t>
                      </m:r>
                    </m:oMath>
                  </a14:m>
                  <a:endPara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  <a:latin typeface="Segoe UI Emoji" panose="020F0502020204030204" pitchFamily="34" charset="0"/>
                    <a:cs typeface="Segoe UI Emoj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18" name="Textfeld 17">
                  <a:extLst>
                    <a:ext uri="{FF2B5EF4-FFF2-40B4-BE49-F238E27FC236}">
                      <a16:creationId xmlns:a16="http://schemas.microsoft.com/office/drawing/2014/main" id="{7C376885-3483-BE60-DD10-155239F98FC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flipH="1">
                  <a:off x="5311575" y="4042953"/>
                  <a:ext cx="400053" cy="317481"/>
                </a:xfrm>
                <a:prstGeom prst="rect">
                  <a:avLst/>
                </a:prstGeom>
                <a:blipFill>
                  <a:blip r:embed="rId9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" name="Textfeld 19">
                  <a:extLst>
                    <a:ext uri="{FF2B5EF4-FFF2-40B4-BE49-F238E27FC236}">
                      <a16:creationId xmlns:a16="http://schemas.microsoft.com/office/drawing/2014/main" id="{107681CE-858F-BAFE-4FC6-7B2AF8B4BD81}"/>
                    </a:ext>
                  </a:extLst>
                </p:cNvPr>
                <p:cNvSpPr txBox="1"/>
                <p:nvPr/>
              </p:nvSpPr>
              <p:spPr>
                <a:xfrm flipH="1">
                  <a:off x="5319740" y="4374869"/>
                  <a:ext cx="400053" cy="31748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noAutofit/>
                </a:bodyPr>
                <a:lstStyle/>
                <a:p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  <a:latin typeface="Segoe UI Emoji" panose="020F0502020204030204" pitchFamily="34" charset="0"/>
                      <a:cs typeface="Segoe UI Emoji" panose="020F0502020204030204" pitchFamily="34" charset="0"/>
                    </a:rPr>
                    <a:t>✔️</a:t>
                  </a:r>
                  <a14:m>
                    <m:oMath xmlns:m="http://schemas.openxmlformats.org/officeDocument/2006/math">
                      <m:r>
                        <a:rPr lang="en-US" i="1" smtClean="0">
                          <a:ln>
                            <a:solidFill>
                              <a:srgbClr val="00B050"/>
                            </a:solidFill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  <a:cs typeface="Segoe UI Emoji" panose="020F0502020204030204" pitchFamily="34" charset="0"/>
                        </a:rPr>
                        <m:t>︎</m:t>
                      </m:r>
                    </m:oMath>
                  </a14:m>
                  <a:endPara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  <a:latin typeface="Segoe UI Emoji" panose="020F0502020204030204" pitchFamily="34" charset="0"/>
                    <a:cs typeface="Segoe UI Emoj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20" name="Textfeld 19">
                  <a:extLst>
                    <a:ext uri="{FF2B5EF4-FFF2-40B4-BE49-F238E27FC236}">
                      <a16:creationId xmlns:a16="http://schemas.microsoft.com/office/drawing/2014/main" id="{107681CE-858F-BAFE-4FC6-7B2AF8B4BD8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flipH="1">
                  <a:off x="5319740" y="4374869"/>
                  <a:ext cx="400053" cy="317481"/>
                </a:xfrm>
                <a:prstGeom prst="rect">
                  <a:avLst/>
                </a:prstGeom>
                <a:blipFill>
                  <a:blip r:embed="rId10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1" name="Textfeld 20">
                  <a:extLst>
                    <a:ext uri="{FF2B5EF4-FFF2-40B4-BE49-F238E27FC236}">
                      <a16:creationId xmlns:a16="http://schemas.microsoft.com/office/drawing/2014/main" id="{3F66AF0C-4973-753D-E5D8-A9B9296B3E78}"/>
                    </a:ext>
                  </a:extLst>
                </p:cNvPr>
                <p:cNvSpPr txBox="1"/>
                <p:nvPr/>
              </p:nvSpPr>
              <p:spPr>
                <a:xfrm flipH="1">
                  <a:off x="5341542" y="1894003"/>
                  <a:ext cx="400053" cy="31748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noAutofit/>
                </a:bodyPr>
                <a:lstStyle/>
                <a:p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  <a:latin typeface="Segoe UI Emoji" panose="020F0502020204030204" pitchFamily="34" charset="0"/>
                      <a:cs typeface="Segoe UI Emoji" panose="020F0502020204030204" pitchFamily="34" charset="0"/>
                    </a:rPr>
                    <a:t>✔️</a:t>
                  </a:r>
                  <a14:m>
                    <m:oMath xmlns:m="http://schemas.openxmlformats.org/officeDocument/2006/math">
                      <m:r>
                        <a:rPr lang="en-US" i="1" smtClean="0">
                          <a:ln>
                            <a:solidFill>
                              <a:srgbClr val="00B050"/>
                            </a:solidFill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  <a:cs typeface="Segoe UI Emoji" panose="020F0502020204030204" pitchFamily="34" charset="0"/>
                        </a:rPr>
                        <m:t>︎</m:t>
                      </m:r>
                    </m:oMath>
                  </a14:m>
                  <a:endPara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  <a:latin typeface="Segoe UI Emoji" panose="020F0502020204030204" pitchFamily="34" charset="0"/>
                    <a:cs typeface="Segoe UI Emoj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21" name="Textfeld 20">
                  <a:extLst>
                    <a:ext uri="{FF2B5EF4-FFF2-40B4-BE49-F238E27FC236}">
                      <a16:creationId xmlns:a16="http://schemas.microsoft.com/office/drawing/2014/main" id="{3F66AF0C-4973-753D-E5D8-A9B9296B3E7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flipH="1">
                  <a:off x="5341542" y="1894003"/>
                  <a:ext cx="400053" cy="317481"/>
                </a:xfrm>
                <a:prstGeom prst="rect">
                  <a:avLst/>
                </a:prstGeom>
                <a:blipFill>
                  <a:blip r:embed="rId11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Textfeld 21">
                  <a:extLst>
                    <a:ext uri="{FF2B5EF4-FFF2-40B4-BE49-F238E27FC236}">
                      <a16:creationId xmlns:a16="http://schemas.microsoft.com/office/drawing/2014/main" id="{24699566-0068-A1BB-EA41-3EF667A5F65C}"/>
                    </a:ext>
                  </a:extLst>
                </p:cNvPr>
                <p:cNvSpPr txBox="1"/>
                <p:nvPr/>
              </p:nvSpPr>
              <p:spPr>
                <a:xfrm flipH="1">
                  <a:off x="3989941" y="2161713"/>
                  <a:ext cx="400053" cy="31748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noAutofit/>
                </a:bodyPr>
                <a:lstStyle/>
                <a:p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  <a:latin typeface="Segoe UI Emoji" panose="020F0502020204030204" pitchFamily="34" charset="0"/>
                      <a:cs typeface="Segoe UI Emoji" panose="020F0502020204030204" pitchFamily="34" charset="0"/>
                    </a:rPr>
                    <a:t>✔️</a:t>
                  </a:r>
                  <a14:m>
                    <m:oMath xmlns:m="http://schemas.openxmlformats.org/officeDocument/2006/math">
                      <m:r>
                        <a:rPr lang="en-US" i="1" smtClean="0">
                          <a:ln>
                            <a:solidFill>
                              <a:srgbClr val="00B050"/>
                            </a:solidFill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  <a:cs typeface="Segoe UI Emoji" panose="020F0502020204030204" pitchFamily="34" charset="0"/>
                        </a:rPr>
                        <m:t>︎</m:t>
                      </m:r>
                    </m:oMath>
                  </a14:m>
                  <a:endPara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  <a:latin typeface="Segoe UI Emoji" panose="020F0502020204030204" pitchFamily="34" charset="0"/>
                    <a:cs typeface="Segoe UI Emoj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22" name="Textfeld 21">
                  <a:extLst>
                    <a:ext uri="{FF2B5EF4-FFF2-40B4-BE49-F238E27FC236}">
                      <a16:creationId xmlns:a16="http://schemas.microsoft.com/office/drawing/2014/main" id="{24699566-0068-A1BB-EA41-3EF667A5F65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flipH="1">
                  <a:off x="3989941" y="2161713"/>
                  <a:ext cx="400053" cy="317481"/>
                </a:xfrm>
                <a:prstGeom prst="rect">
                  <a:avLst/>
                </a:prstGeom>
                <a:blipFill>
                  <a:blip r:embed="rId12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Textfeld 22">
                  <a:extLst>
                    <a:ext uri="{FF2B5EF4-FFF2-40B4-BE49-F238E27FC236}">
                      <a16:creationId xmlns:a16="http://schemas.microsoft.com/office/drawing/2014/main" id="{A51A7B2D-78CF-D191-4C99-381043A8A6F6}"/>
                    </a:ext>
                  </a:extLst>
                </p:cNvPr>
                <p:cNvSpPr txBox="1"/>
                <p:nvPr/>
              </p:nvSpPr>
              <p:spPr>
                <a:xfrm flipH="1">
                  <a:off x="4036956" y="1576522"/>
                  <a:ext cx="400053" cy="31748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noAutofit/>
                </a:bodyPr>
                <a:lstStyle/>
                <a:p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  <a:latin typeface="Segoe UI Emoji" panose="020F0502020204030204" pitchFamily="34" charset="0"/>
                      <a:cs typeface="Segoe UI Emoji" panose="020F0502020204030204" pitchFamily="34" charset="0"/>
                    </a:rPr>
                    <a:t>✔️</a:t>
                  </a:r>
                  <a14:m>
                    <m:oMath xmlns:m="http://schemas.openxmlformats.org/officeDocument/2006/math">
                      <m:r>
                        <a:rPr lang="en-US" i="1" smtClean="0">
                          <a:ln>
                            <a:solidFill>
                              <a:srgbClr val="00B050"/>
                            </a:solidFill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  <a:cs typeface="Segoe UI Emoji" panose="020F0502020204030204" pitchFamily="34" charset="0"/>
                        </a:rPr>
                        <m:t>︎</m:t>
                      </m:r>
                    </m:oMath>
                  </a14:m>
                  <a:endPara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  <a:latin typeface="Segoe UI Emoji" panose="020F0502020204030204" pitchFamily="34" charset="0"/>
                    <a:cs typeface="Segoe UI Emoj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23" name="Textfeld 22">
                  <a:extLst>
                    <a:ext uri="{FF2B5EF4-FFF2-40B4-BE49-F238E27FC236}">
                      <a16:creationId xmlns:a16="http://schemas.microsoft.com/office/drawing/2014/main" id="{A51A7B2D-78CF-D191-4C99-381043A8A6F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flipH="1">
                  <a:off x="4036956" y="1576522"/>
                  <a:ext cx="400053" cy="317481"/>
                </a:xfrm>
                <a:prstGeom prst="rect">
                  <a:avLst/>
                </a:prstGeom>
                <a:blipFill>
                  <a:blip r:embed="rId13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Textfeld 23">
                  <a:extLst>
                    <a:ext uri="{FF2B5EF4-FFF2-40B4-BE49-F238E27FC236}">
                      <a16:creationId xmlns:a16="http://schemas.microsoft.com/office/drawing/2014/main" id="{00FB6D26-C6F1-2256-4C2F-2729726853E5}"/>
                    </a:ext>
                  </a:extLst>
                </p:cNvPr>
                <p:cNvSpPr txBox="1"/>
                <p:nvPr/>
              </p:nvSpPr>
              <p:spPr>
                <a:xfrm flipH="1">
                  <a:off x="4159285" y="2517724"/>
                  <a:ext cx="400053" cy="31748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noAutofit/>
                </a:bodyPr>
                <a:lstStyle/>
                <a:p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  <a:latin typeface="Segoe UI Emoji" panose="020F0502020204030204" pitchFamily="34" charset="0"/>
                      <a:cs typeface="Segoe UI Emoji" panose="020F0502020204030204" pitchFamily="34" charset="0"/>
                    </a:rPr>
                    <a:t>✔️</a:t>
                  </a:r>
                  <a14:m>
                    <m:oMath xmlns:m="http://schemas.openxmlformats.org/officeDocument/2006/math">
                      <m:r>
                        <a:rPr lang="en-US" i="1" smtClean="0">
                          <a:ln>
                            <a:solidFill>
                              <a:srgbClr val="00B050"/>
                            </a:solidFill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  <a:cs typeface="Segoe UI Emoji" panose="020F0502020204030204" pitchFamily="34" charset="0"/>
                        </a:rPr>
                        <m:t>︎</m:t>
                      </m:r>
                    </m:oMath>
                  </a14:m>
                  <a:endPara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  <a:latin typeface="Segoe UI Emoji" panose="020F0502020204030204" pitchFamily="34" charset="0"/>
                    <a:cs typeface="Segoe UI Emoj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24" name="Textfeld 23">
                  <a:extLst>
                    <a:ext uri="{FF2B5EF4-FFF2-40B4-BE49-F238E27FC236}">
                      <a16:creationId xmlns:a16="http://schemas.microsoft.com/office/drawing/2014/main" id="{00FB6D26-C6F1-2256-4C2F-2729726853E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flipH="1">
                  <a:off x="4159285" y="2517724"/>
                  <a:ext cx="400053" cy="317481"/>
                </a:xfrm>
                <a:prstGeom prst="rect">
                  <a:avLst/>
                </a:prstGeom>
                <a:blipFill>
                  <a:blip r:embed="rId14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" name="Textfeld 24">
                  <a:extLst>
                    <a:ext uri="{FF2B5EF4-FFF2-40B4-BE49-F238E27FC236}">
                      <a16:creationId xmlns:a16="http://schemas.microsoft.com/office/drawing/2014/main" id="{BB49820D-2DF6-26E2-3D54-ED9CADE75C2F}"/>
                    </a:ext>
                  </a:extLst>
                </p:cNvPr>
                <p:cNvSpPr txBox="1"/>
                <p:nvPr/>
              </p:nvSpPr>
              <p:spPr>
                <a:xfrm flipH="1">
                  <a:off x="3980649" y="2850879"/>
                  <a:ext cx="400053" cy="31748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noAutofit/>
                </a:bodyPr>
                <a:lstStyle/>
                <a:p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  <a:latin typeface="Segoe UI Emoji" panose="020F0502020204030204" pitchFamily="34" charset="0"/>
                      <a:cs typeface="Segoe UI Emoji" panose="020F0502020204030204" pitchFamily="34" charset="0"/>
                    </a:rPr>
                    <a:t>✔️</a:t>
                  </a:r>
                  <a14:m>
                    <m:oMath xmlns:m="http://schemas.openxmlformats.org/officeDocument/2006/math">
                      <m:r>
                        <a:rPr lang="en-US" i="1" smtClean="0">
                          <a:ln>
                            <a:solidFill>
                              <a:srgbClr val="00B050"/>
                            </a:solidFill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  <a:cs typeface="Segoe UI Emoji" panose="020F0502020204030204" pitchFamily="34" charset="0"/>
                        </a:rPr>
                        <m:t>︎</m:t>
                      </m:r>
                    </m:oMath>
                  </a14:m>
                  <a:endPara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  <a:latin typeface="Segoe UI Emoji" panose="020F0502020204030204" pitchFamily="34" charset="0"/>
                    <a:cs typeface="Segoe UI Emoj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25" name="Textfeld 24">
                  <a:extLst>
                    <a:ext uri="{FF2B5EF4-FFF2-40B4-BE49-F238E27FC236}">
                      <a16:creationId xmlns:a16="http://schemas.microsoft.com/office/drawing/2014/main" id="{BB49820D-2DF6-26E2-3D54-ED9CADE75C2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flipH="1">
                  <a:off x="3980649" y="2850879"/>
                  <a:ext cx="400053" cy="317481"/>
                </a:xfrm>
                <a:prstGeom prst="rect">
                  <a:avLst/>
                </a:prstGeom>
                <a:blipFill>
                  <a:blip r:embed="rId15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3" name="Textfeld 32">
                  <a:extLst>
                    <a:ext uri="{FF2B5EF4-FFF2-40B4-BE49-F238E27FC236}">
                      <a16:creationId xmlns:a16="http://schemas.microsoft.com/office/drawing/2014/main" id="{4057303F-D191-B4CA-C175-43F6B6A30186}"/>
                    </a:ext>
                  </a:extLst>
                </p:cNvPr>
                <p:cNvSpPr txBox="1"/>
                <p:nvPr/>
              </p:nvSpPr>
              <p:spPr>
                <a:xfrm flipH="1">
                  <a:off x="3759232" y="3168360"/>
                  <a:ext cx="400053" cy="31748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noAutofit/>
                </a:bodyPr>
                <a:lstStyle/>
                <a:p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  <a:latin typeface="Segoe UI Emoji" panose="020F0502020204030204" pitchFamily="34" charset="0"/>
                      <a:cs typeface="Segoe UI Emoji" panose="020F0502020204030204" pitchFamily="34" charset="0"/>
                    </a:rPr>
                    <a:t>✔️</a:t>
                  </a:r>
                  <a14:m>
                    <m:oMath xmlns:m="http://schemas.openxmlformats.org/officeDocument/2006/math">
                      <m:r>
                        <a:rPr lang="en-US" i="1" smtClean="0">
                          <a:ln>
                            <a:solidFill>
                              <a:srgbClr val="00B050"/>
                            </a:solidFill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  <a:cs typeface="Segoe UI Emoji" panose="020F0502020204030204" pitchFamily="34" charset="0"/>
                        </a:rPr>
                        <m:t>︎</m:t>
                      </m:r>
                    </m:oMath>
                  </a14:m>
                  <a:endPara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  <a:latin typeface="Segoe UI Emoji" panose="020F0502020204030204" pitchFamily="34" charset="0"/>
                    <a:cs typeface="Segoe UI Emoj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33" name="Textfeld 32">
                  <a:extLst>
                    <a:ext uri="{FF2B5EF4-FFF2-40B4-BE49-F238E27FC236}">
                      <a16:creationId xmlns:a16="http://schemas.microsoft.com/office/drawing/2014/main" id="{4057303F-D191-B4CA-C175-43F6B6A3018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flipH="1">
                  <a:off x="3759232" y="3168360"/>
                  <a:ext cx="400053" cy="317481"/>
                </a:xfrm>
                <a:prstGeom prst="rect">
                  <a:avLst/>
                </a:prstGeom>
                <a:blipFill>
                  <a:blip r:embed="rId16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4" name="Textfeld 33">
                  <a:extLst>
                    <a:ext uri="{FF2B5EF4-FFF2-40B4-BE49-F238E27FC236}">
                      <a16:creationId xmlns:a16="http://schemas.microsoft.com/office/drawing/2014/main" id="{5A0308AA-6428-956C-72AB-C2AF0F92D4B0}"/>
                    </a:ext>
                  </a:extLst>
                </p:cNvPr>
                <p:cNvSpPr txBox="1"/>
                <p:nvPr/>
              </p:nvSpPr>
              <p:spPr>
                <a:xfrm flipH="1">
                  <a:off x="3959258" y="3485841"/>
                  <a:ext cx="400053" cy="31748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noAutofit/>
                </a:bodyPr>
                <a:lstStyle/>
                <a:p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  <a:latin typeface="Segoe UI Emoji" panose="020F0502020204030204" pitchFamily="34" charset="0"/>
                      <a:cs typeface="Segoe UI Emoji" panose="020F0502020204030204" pitchFamily="34" charset="0"/>
                    </a:rPr>
                    <a:t>✔️</a:t>
                  </a:r>
                  <a14:m>
                    <m:oMath xmlns:m="http://schemas.openxmlformats.org/officeDocument/2006/math">
                      <m:r>
                        <a:rPr lang="en-US" i="1" smtClean="0">
                          <a:ln>
                            <a:solidFill>
                              <a:srgbClr val="00B050"/>
                            </a:solidFill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  <a:cs typeface="Segoe UI Emoji" panose="020F0502020204030204" pitchFamily="34" charset="0"/>
                        </a:rPr>
                        <m:t>︎</m:t>
                      </m:r>
                    </m:oMath>
                  </a14:m>
                  <a:endPara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  <a:latin typeface="Segoe UI Emoji" panose="020F0502020204030204" pitchFamily="34" charset="0"/>
                    <a:cs typeface="Segoe UI Emoj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34" name="Textfeld 33">
                  <a:extLst>
                    <a:ext uri="{FF2B5EF4-FFF2-40B4-BE49-F238E27FC236}">
                      <a16:creationId xmlns:a16="http://schemas.microsoft.com/office/drawing/2014/main" id="{5A0308AA-6428-956C-72AB-C2AF0F92D4B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flipH="1">
                  <a:off x="3959258" y="3485841"/>
                  <a:ext cx="400053" cy="317481"/>
                </a:xfrm>
                <a:prstGeom prst="rect">
                  <a:avLst/>
                </a:prstGeom>
                <a:blipFill>
                  <a:blip r:embed="rId17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" name="Textfeld 34">
                  <a:extLst>
                    <a:ext uri="{FF2B5EF4-FFF2-40B4-BE49-F238E27FC236}">
                      <a16:creationId xmlns:a16="http://schemas.microsoft.com/office/drawing/2014/main" id="{2E4C126B-21E7-1F3C-AF46-4472E2147798}"/>
                    </a:ext>
                  </a:extLst>
                </p:cNvPr>
                <p:cNvSpPr txBox="1"/>
                <p:nvPr/>
              </p:nvSpPr>
              <p:spPr>
                <a:xfrm flipH="1">
                  <a:off x="3971224" y="3803322"/>
                  <a:ext cx="400053" cy="31748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noAutofit/>
                </a:bodyPr>
                <a:lstStyle/>
                <a:p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  <a:latin typeface="Segoe UI Emoji" panose="020F0502020204030204" pitchFamily="34" charset="0"/>
                      <a:cs typeface="Segoe UI Emoji" panose="020F0502020204030204" pitchFamily="34" charset="0"/>
                    </a:rPr>
                    <a:t>✔️</a:t>
                  </a:r>
                  <a14:m>
                    <m:oMath xmlns:m="http://schemas.openxmlformats.org/officeDocument/2006/math">
                      <m:r>
                        <a:rPr lang="en-US" i="1" smtClean="0">
                          <a:ln>
                            <a:solidFill>
                              <a:srgbClr val="00B050"/>
                            </a:solidFill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  <a:cs typeface="Segoe UI Emoji" panose="020F0502020204030204" pitchFamily="34" charset="0"/>
                        </a:rPr>
                        <m:t>︎</m:t>
                      </m:r>
                    </m:oMath>
                  </a14:m>
                  <a:endPara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  <a:latin typeface="Segoe UI Emoji" panose="020F0502020204030204" pitchFamily="34" charset="0"/>
                    <a:cs typeface="Segoe UI Emoj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35" name="Textfeld 34">
                  <a:extLst>
                    <a:ext uri="{FF2B5EF4-FFF2-40B4-BE49-F238E27FC236}">
                      <a16:creationId xmlns:a16="http://schemas.microsoft.com/office/drawing/2014/main" id="{2E4C126B-21E7-1F3C-AF46-4472E214779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flipH="1">
                  <a:off x="3971224" y="3803322"/>
                  <a:ext cx="400053" cy="317481"/>
                </a:xfrm>
                <a:prstGeom prst="rect">
                  <a:avLst/>
                </a:prstGeom>
                <a:blipFill>
                  <a:blip r:embed="rId18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6" name="Textfeld 35">
                  <a:extLst>
                    <a:ext uri="{FF2B5EF4-FFF2-40B4-BE49-F238E27FC236}">
                      <a16:creationId xmlns:a16="http://schemas.microsoft.com/office/drawing/2014/main" id="{37BE1482-E73A-F7A2-E5C0-A54AE5B55C56}"/>
                    </a:ext>
                  </a:extLst>
                </p:cNvPr>
                <p:cNvSpPr txBox="1"/>
                <p:nvPr/>
              </p:nvSpPr>
              <p:spPr>
                <a:xfrm flipH="1">
                  <a:off x="5002570" y="1593883"/>
                  <a:ext cx="400053" cy="31748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noAutofit/>
                </a:bodyPr>
                <a:lstStyle/>
                <a:p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  <a:latin typeface="Segoe UI Emoji" panose="020F0502020204030204" pitchFamily="34" charset="0"/>
                      <a:cs typeface="Segoe UI Emoji" panose="020F0502020204030204" pitchFamily="34" charset="0"/>
                    </a:rPr>
                    <a:t>✔️</a:t>
                  </a:r>
                  <a14:m>
                    <m:oMath xmlns:m="http://schemas.openxmlformats.org/officeDocument/2006/math">
                      <m:r>
                        <a:rPr lang="en-US" i="1" smtClean="0">
                          <a:ln>
                            <a:solidFill>
                              <a:srgbClr val="00B050"/>
                            </a:solidFill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  <a:cs typeface="Segoe UI Emoji" panose="020F0502020204030204" pitchFamily="34" charset="0"/>
                        </a:rPr>
                        <m:t>︎</m:t>
                      </m:r>
                    </m:oMath>
                  </a14:m>
                  <a:endPara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  <a:latin typeface="Segoe UI Emoji" panose="020F0502020204030204" pitchFamily="34" charset="0"/>
                    <a:cs typeface="Segoe UI Emoj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36" name="Textfeld 35">
                  <a:extLst>
                    <a:ext uri="{FF2B5EF4-FFF2-40B4-BE49-F238E27FC236}">
                      <a16:creationId xmlns:a16="http://schemas.microsoft.com/office/drawing/2014/main" id="{37BE1482-E73A-F7A2-E5C0-A54AE5B55C5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flipH="1">
                  <a:off x="5002570" y="1593883"/>
                  <a:ext cx="400053" cy="317481"/>
                </a:xfrm>
                <a:prstGeom prst="rect">
                  <a:avLst/>
                </a:prstGeom>
                <a:blipFill>
                  <a:blip r:embed="rId19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7" name="Textfeld 36">
                  <a:extLst>
                    <a:ext uri="{FF2B5EF4-FFF2-40B4-BE49-F238E27FC236}">
                      <a16:creationId xmlns:a16="http://schemas.microsoft.com/office/drawing/2014/main" id="{8AF2CF9B-C479-4547-CAD4-E318A2A6F0C6}"/>
                    </a:ext>
                  </a:extLst>
                </p:cNvPr>
                <p:cNvSpPr txBox="1"/>
                <p:nvPr/>
              </p:nvSpPr>
              <p:spPr>
                <a:xfrm flipH="1">
                  <a:off x="3755579" y="4175007"/>
                  <a:ext cx="400053" cy="31748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noAutofit/>
                </a:bodyPr>
                <a:lstStyle/>
                <a:p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  <a:latin typeface="Segoe UI Emoji" panose="020F0502020204030204" pitchFamily="34" charset="0"/>
                      <a:cs typeface="Segoe UI Emoji" panose="020F0502020204030204" pitchFamily="34" charset="0"/>
                    </a:rPr>
                    <a:t>✔️</a:t>
                  </a:r>
                  <a14:m>
                    <m:oMath xmlns:m="http://schemas.openxmlformats.org/officeDocument/2006/math">
                      <m:r>
                        <a:rPr lang="en-US" i="1" smtClean="0">
                          <a:ln>
                            <a:solidFill>
                              <a:srgbClr val="00B050"/>
                            </a:solidFill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  <a:cs typeface="Segoe UI Emoji" panose="020F0502020204030204" pitchFamily="34" charset="0"/>
                        </a:rPr>
                        <m:t>︎</m:t>
                      </m:r>
                    </m:oMath>
                  </a14:m>
                  <a:endPara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  <a:latin typeface="Segoe UI Emoji" panose="020F0502020204030204" pitchFamily="34" charset="0"/>
                    <a:cs typeface="Segoe UI Emoj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37" name="Textfeld 36">
                  <a:extLst>
                    <a:ext uri="{FF2B5EF4-FFF2-40B4-BE49-F238E27FC236}">
                      <a16:creationId xmlns:a16="http://schemas.microsoft.com/office/drawing/2014/main" id="{8AF2CF9B-C479-4547-CAD4-E318A2A6F0C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flipH="1">
                  <a:off x="3755579" y="4175007"/>
                  <a:ext cx="400053" cy="317481"/>
                </a:xfrm>
                <a:prstGeom prst="rect">
                  <a:avLst/>
                </a:prstGeom>
                <a:blipFill>
                  <a:blip r:embed="rId20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8" name="Textfeld 37">
                  <a:extLst>
                    <a:ext uri="{FF2B5EF4-FFF2-40B4-BE49-F238E27FC236}">
                      <a16:creationId xmlns:a16="http://schemas.microsoft.com/office/drawing/2014/main" id="{BF8A097E-46E0-132F-3E63-D4F60D37FFCC}"/>
                    </a:ext>
                  </a:extLst>
                </p:cNvPr>
                <p:cNvSpPr txBox="1"/>
                <p:nvPr/>
              </p:nvSpPr>
              <p:spPr>
                <a:xfrm flipH="1">
                  <a:off x="4189356" y="1728922"/>
                  <a:ext cx="400053" cy="31748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noAutofit/>
                </a:bodyPr>
                <a:lstStyle/>
                <a:p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  <a:latin typeface="Segoe UI Emoji" panose="020F0502020204030204" pitchFamily="34" charset="0"/>
                      <a:cs typeface="Segoe UI Emoji" panose="020F0502020204030204" pitchFamily="34" charset="0"/>
                    </a:rPr>
                    <a:t>✔️</a:t>
                  </a:r>
                  <a14:m>
                    <m:oMath xmlns:m="http://schemas.openxmlformats.org/officeDocument/2006/math">
                      <m:r>
                        <a:rPr lang="en-US" i="1" smtClean="0">
                          <a:ln>
                            <a:solidFill>
                              <a:srgbClr val="00B050"/>
                            </a:solidFill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  <a:cs typeface="Segoe UI Emoji" panose="020F0502020204030204" pitchFamily="34" charset="0"/>
                        </a:rPr>
                        <m:t>︎</m:t>
                      </m:r>
                    </m:oMath>
                  </a14:m>
                  <a:endPara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  <a:latin typeface="Segoe UI Emoji" panose="020F0502020204030204" pitchFamily="34" charset="0"/>
                    <a:cs typeface="Segoe UI Emoj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38" name="Textfeld 37">
                  <a:extLst>
                    <a:ext uri="{FF2B5EF4-FFF2-40B4-BE49-F238E27FC236}">
                      <a16:creationId xmlns:a16="http://schemas.microsoft.com/office/drawing/2014/main" id="{BF8A097E-46E0-132F-3E63-D4F60D37FFC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flipH="1">
                  <a:off x="4189356" y="1728922"/>
                  <a:ext cx="400053" cy="317481"/>
                </a:xfrm>
                <a:prstGeom prst="rect">
                  <a:avLst/>
                </a:prstGeom>
                <a:blipFill>
                  <a:blip r:embed="rId13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9" name="Textfeld 38">
                  <a:extLst>
                    <a:ext uri="{FF2B5EF4-FFF2-40B4-BE49-F238E27FC236}">
                      <a16:creationId xmlns:a16="http://schemas.microsoft.com/office/drawing/2014/main" id="{9F18223F-5142-829F-A192-D10EF5254619}"/>
                    </a:ext>
                  </a:extLst>
                </p:cNvPr>
                <p:cNvSpPr txBox="1"/>
                <p:nvPr/>
              </p:nvSpPr>
              <p:spPr>
                <a:xfrm flipH="1">
                  <a:off x="3280410" y="1630344"/>
                  <a:ext cx="400053" cy="31748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noAutofit/>
                </a:bodyPr>
                <a:lstStyle/>
                <a:p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00B050"/>
                      </a:solidFill>
                      <a:latin typeface="Segoe UI Emoji" panose="020F0502020204030204" pitchFamily="34" charset="0"/>
                      <a:cs typeface="Segoe UI Emoji" panose="020F0502020204030204" pitchFamily="34" charset="0"/>
                    </a:rPr>
                    <a:t>✔</a:t>
                  </a:r>
                  <a:r>
                    <a:rPr lang="en-US" dirty="0">
                      <a:ln>
                        <a:solidFill>
                          <a:srgbClr val="00B050"/>
                        </a:solidFill>
                      </a:ln>
                      <a:solidFill>
                        <a:srgbClr val="92D050"/>
                      </a:solidFill>
                      <a:latin typeface="Segoe UI Emoji" panose="020F0502020204030204" pitchFamily="34" charset="0"/>
                      <a:cs typeface="Segoe UI Emoji" panose="020F0502020204030204" pitchFamily="34" charset="0"/>
                    </a:rPr>
                    <a:t>️</a:t>
                  </a:r>
                  <a14:m>
                    <m:oMath xmlns:m="http://schemas.openxmlformats.org/officeDocument/2006/math">
                      <m:r>
                        <a:rPr lang="en-US" i="1" smtClean="0">
                          <a:ln>
                            <a:solidFill>
                              <a:srgbClr val="00B050"/>
                            </a:solidFill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  <a:cs typeface="Segoe UI Emoji" panose="020F0502020204030204" pitchFamily="34" charset="0"/>
                        </a:rPr>
                        <m:t>︎</m:t>
                      </m:r>
                    </m:oMath>
                  </a14:m>
                  <a:endParaRPr lang="en-US" dirty="0">
                    <a:ln>
                      <a:solidFill>
                        <a:srgbClr val="00B050"/>
                      </a:solidFill>
                    </a:ln>
                    <a:solidFill>
                      <a:srgbClr val="00B050"/>
                    </a:solidFill>
                    <a:latin typeface="Segoe UI Emoji" panose="020F0502020204030204" pitchFamily="34" charset="0"/>
                    <a:cs typeface="Segoe UI Emoj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39" name="Textfeld 38">
                  <a:extLst>
                    <a:ext uri="{FF2B5EF4-FFF2-40B4-BE49-F238E27FC236}">
                      <a16:creationId xmlns:a16="http://schemas.microsoft.com/office/drawing/2014/main" id="{9F18223F-5142-829F-A192-D10EF525461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flipH="1">
                  <a:off x="3280410" y="1630344"/>
                  <a:ext cx="400053" cy="317481"/>
                </a:xfrm>
                <a:prstGeom prst="rect">
                  <a:avLst/>
                </a:prstGeom>
                <a:blipFill>
                  <a:blip r:embed="rId21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DABCE08B-865E-A207-BEB6-91BB23AF3BBE}"/>
              </a:ext>
            </a:extLst>
          </p:cNvPr>
          <p:cNvGrpSpPr/>
          <p:nvPr/>
        </p:nvGrpSpPr>
        <p:grpSpPr>
          <a:xfrm>
            <a:off x="6701127" y="326569"/>
            <a:ext cx="1529080" cy="4441844"/>
            <a:chOff x="6701127" y="326569"/>
            <a:chExt cx="1529080" cy="4441844"/>
          </a:xfrm>
        </p:grpSpPr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0A62C895-FC5B-969E-85B7-E8EBCDD6C5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6713827" y="326569"/>
              <a:ext cx="1508760" cy="47752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A8A4B365-2282-04A3-CA5F-E6262484708F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rcRect/>
            <a:stretch/>
          </p:blipFill>
          <p:spPr>
            <a:xfrm>
              <a:off x="6735647" y="2794441"/>
              <a:ext cx="1483360" cy="6858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00022AD2-B2D5-1E72-452A-BDAC54BEF8E5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6701127" y="1883299"/>
              <a:ext cx="1529080" cy="69596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E29ED327-9503-B3A7-2804-AD23566D18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6720177" y="977934"/>
              <a:ext cx="1498600" cy="68072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72DC7975-D183-7E47-BEF0-19FDF58C4F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6713827" y="3671133"/>
              <a:ext cx="1493520" cy="109728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B53EA445-3E4B-0065-C105-822D795AAF96}"/>
              </a:ext>
            </a:extLst>
          </p:cNvPr>
          <p:cNvGrpSpPr/>
          <p:nvPr/>
        </p:nvGrpSpPr>
        <p:grpSpPr>
          <a:xfrm>
            <a:off x="632173" y="1422249"/>
            <a:ext cx="1485259" cy="3356104"/>
            <a:chOff x="632173" y="1422249"/>
            <a:chExt cx="1485259" cy="3356104"/>
          </a:xfrm>
        </p:grpSpPr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ACE4BA59-701E-8CFA-A85E-93F83005CC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648031" y="1422249"/>
              <a:ext cx="1468120" cy="381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56D91960-7BC0-AC8A-1FEC-8EBE8FE852DF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651211" y="1978559"/>
              <a:ext cx="1463040" cy="38608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4045A7B8-7883-B734-047A-016C34395B0B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639152" y="2555931"/>
              <a:ext cx="1478280" cy="37084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51" name="Grafik 50">
              <a:extLst>
                <a:ext uri="{FF2B5EF4-FFF2-40B4-BE49-F238E27FC236}">
                  <a16:creationId xmlns:a16="http://schemas.microsoft.com/office/drawing/2014/main" id="{3A3963FE-C2CE-EA79-6BA3-FE86A0190AEE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632173" y="3086713"/>
              <a:ext cx="1473200" cy="169164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1768C16-CC7A-617C-A2D1-CCDA60BB33FC}"/>
              </a:ext>
            </a:extLst>
          </p:cNvPr>
          <p:cNvCxnSpPr>
            <a:stCxn id="46" idx="3"/>
          </p:cNvCxnSpPr>
          <p:nvPr/>
        </p:nvCxnSpPr>
        <p:spPr>
          <a:xfrm>
            <a:off x="2116151" y="1612749"/>
            <a:ext cx="1324394" cy="869631"/>
          </a:xfrm>
          <a:prstGeom prst="straightConnector1">
            <a:avLst/>
          </a:prstGeom>
          <a:ln w="12700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23E59EC1-7A01-C12C-6E01-77C1EFDDA7EF}"/>
              </a:ext>
            </a:extLst>
          </p:cNvPr>
          <p:cNvCxnSpPr>
            <a:cxnSpLocks/>
            <a:stCxn id="47" idx="3"/>
          </p:cNvCxnSpPr>
          <p:nvPr/>
        </p:nvCxnSpPr>
        <p:spPr>
          <a:xfrm>
            <a:off x="2114251" y="2171599"/>
            <a:ext cx="1483896" cy="622842"/>
          </a:xfrm>
          <a:prstGeom prst="straightConnector1">
            <a:avLst/>
          </a:prstGeom>
          <a:ln w="12700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F4A998C5-0C18-B513-3F9D-CF894E4FE04F}"/>
              </a:ext>
            </a:extLst>
          </p:cNvPr>
          <p:cNvCxnSpPr>
            <a:cxnSpLocks/>
          </p:cNvCxnSpPr>
          <p:nvPr/>
        </p:nvCxnSpPr>
        <p:spPr>
          <a:xfrm>
            <a:off x="2112351" y="2730449"/>
            <a:ext cx="1328194" cy="356264"/>
          </a:xfrm>
          <a:prstGeom prst="straightConnector1">
            <a:avLst/>
          </a:prstGeom>
          <a:ln w="12700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ED63DEA-77E9-59BE-8D9E-DA4FB14A3257}"/>
              </a:ext>
            </a:extLst>
          </p:cNvPr>
          <p:cNvCxnSpPr>
            <a:cxnSpLocks/>
            <a:stCxn id="51" idx="3"/>
          </p:cNvCxnSpPr>
          <p:nvPr/>
        </p:nvCxnSpPr>
        <p:spPr>
          <a:xfrm>
            <a:off x="2105373" y="3932533"/>
            <a:ext cx="1085791" cy="500922"/>
          </a:xfrm>
          <a:prstGeom prst="straightConnector1">
            <a:avLst/>
          </a:prstGeom>
          <a:ln w="12700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CF370821-D67C-7B83-7886-94A21A83FCFD}"/>
              </a:ext>
            </a:extLst>
          </p:cNvPr>
          <p:cNvCxnSpPr>
            <a:cxnSpLocks/>
            <a:endCxn id="41" idx="1"/>
          </p:cNvCxnSpPr>
          <p:nvPr/>
        </p:nvCxnSpPr>
        <p:spPr>
          <a:xfrm flipV="1">
            <a:off x="4241268" y="565329"/>
            <a:ext cx="2472559" cy="1237920"/>
          </a:xfrm>
          <a:prstGeom prst="straightConnector1">
            <a:avLst/>
          </a:prstGeom>
          <a:ln w="12700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FA3B2238-048F-44DA-DC50-8D160B5221CF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 flipV="1">
            <a:off x="5545854" y="1318294"/>
            <a:ext cx="1174323" cy="916376"/>
          </a:xfrm>
          <a:prstGeom prst="straightConnector1">
            <a:avLst/>
          </a:prstGeom>
          <a:ln w="12700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5E6625B-05CC-A009-4FB3-B3635072F9CF}"/>
              </a:ext>
            </a:extLst>
          </p:cNvPr>
          <p:cNvCxnSpPr>
            <a:cxnSpLocks/>
            <a:endCxn id="43" idx="1"/>
          </p:cNvCxnSpPr>
          <p:nvPr/>
        </p:nvCxnSpPr>
        <p:spPr>
          <a:xfrm flipV="1">
            <a:off x="5606935" y="2231279"/>
            <a:ext cx="1094192" cy="855434"/>
          </a:xfrm>
          <a:prstGeom prst="straightConnector1">
            <a:avLst/>
          </a:prstGeom>
          <a:ln w="12700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A66B58C4-DDDA-14EC-A665-7DACF103EECF}"/>
              </a:ext>
            </a:extLst>
          </p:cNvPr>
          <p:cNvCxnSpPr>
            <a:cxnSpLocks/>
            <a:endCxn id="42" idx="1"/>
          </p:cNvCxnSpPr>
          <p:nvPr/>
        </p:nvCxnSpPr>
        <p:spPr>
          <a:xfrm flipV="1">
            <a:off x="5924105" y="3137341"/>
            <a:ext cx="811542" cy="908186"/>
          </a:xfrm>
          <a:prstGeom prst="straightConnector1">
            <a:avLst/>
          </a:prstGeom>
          <a:ln w="12700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42E49FAF-3F9D-5938-9C3F-1AAA3C3CA9F1}"/>
              </a:ext>
            </a:extLst>
          </p:cNvPr>
          <p:cNvCxnSpPr>
            <a:cxnSpLocks/>
            <a:stCxn id="20" idx="3"/>
            <a:endCxn id="45" idx="1"/>
          </p:cNvCxnSpPr>
          <p:nvPr/>
        </p:nvCxnSpPr>
        <p:spPr>
          <a:xfrm flipV="1">
            <a:off x="5524052" y="4219773"/>
            <a:ext cx="1189775" cy="495763"/>
          </a:xfrm>
          <a:prstGeom prst="straightConnector1">
            <a:avLst/>
          </a:prstGeom>
          <a:ln w="12700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150646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7233">
        <p:fade/>
      </p:transition>
    </mc:Choice>
    <mc:Fallback xmlns="">
      <p:transition spd="med" advTm="47233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B6F8FC49-C712-840B-CA01-58BD698706ED}"/>
              </a:ext>
            </a:extLst>
          </p:cNvPr>
          <p:cNvSpPr txBox="1"/>
          <p:nvPr/>
        </p:nvSpPr>
        <p:spPr>
          <a:xfrm>
            <a:off x="116587" y="1480904"/>
            <a:ext cx="2398263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13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CA49368-DAB9-AEE2-4319-918068830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160" y="965945"/>
            <a:ext cx="8001000" cy="743371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Use-Case: Program &amp; Result Management / Orchestration</a:t>
            </a:r>
            <a:br>
              <a:rPr lang="en-US" dirty="0">
                <a:solidFill>
                  <a:srgbClr val="0070C0"/>
                </a:solidFill>
              </a:rPr>
            </a:b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89C4954-7D19-0C97-7BDA-AE822E171E0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6E9D63DF-F06F-A982-574E-BFA56FC0C918}"/>
              </a:ext>
            </a:extLst>
          </p:cNvPr>
          <p:cNvGrpSpPr/>
          <p:nvPr/>
        </p:nvGrpSpPr>
        <p:grpSpPr>
          <a:xfrm>
            <a:off x="1494952" y="1396092"/>
            <a:ext cx="7004887" cy="3301443"/>
            <a:chOff x="1494952" y="1396092"/>
            <a:chExt cx="7004887" cy="3301443"/>
          </a:xfrm>
        </p:grpSpPr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C753DA40-7002-509F-441F-533FD4698E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56" r="-8"/>
            <a:stretch/>
          </p:blipFill>
          <p:spPr>
            <a:xfrm>
              <a:off x="1494952" y="1396092"/>
              <a:ext cx="7004887" cy="330144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9" name="Abgerundetes Rechteck 18">
              <a:extLst>
                <a:ext uri="{FF2B5EF4-FFF2-40B4-BE49-F238E27FC236}">
                  <a16:creationId xmlns:a16="http://schemas.microsoft.com/office/drawing/2014/main" id="{214FBF5A-5910-0833-44FD-6ABF3E53BDA3}"/>
                </a:ext>
              </a:extLst>
            </p:cNvPr>
            <p:cNvSpPr/>
            <p:nvPr/>
          </p:nvSpPr>
          <p:spPr>
            <a:xfrm>
              <a:off x="1512035" y="1624692"/>
              <a:ext cx="2317015" cy="3012621"/>
            </a:xfrm>
            <a:prstGeom prst="roundRect">
              <a:avLst>
                <a:gd name="adj" fmla="val 3099"/>
              </a:avLst>
            </a:prstGeom>
            <a:noFill/>
            <a:ln w="1905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3" name="Abgerundetes Rechteck 2">
              <a:extLst>
                <a:ext uri="{FF2B5EF4-FFF2-40B4-BE49-F238E27FC236}">
                  <a16:creationId xmlns:a16="http://schemas.microsoft.com/office/drawing/2014/main" id="{1BF00792-9748-1E31-65E5-5E5F82935EBA}"/>
                </a:ext>
              </a:extLst>
            </p:cNvPr>
            <p:cNvSpPr/>
            <p:nvPr/>
          </p:nvSpPr>
          <p:spPr>
            <a:xfrm>
              <a:off x="3829050" y="1624692"/>
              <a:ext cx="2317015" cy="3012621"/>
            </a:xfrm>
            <a:prstGeom prst="roundRect">
              <a:avLst>
                <a:gd name="adj" fmla="val 3099"/>
              </a:avLst>
            </a:prstGeom>
            <a:noFill/>
            <a:ln w="1905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8" name="Abgerundetes Rechteck 7">
              <a:extLst>
                <a:ext uri="{FF2B5EF4-FFF2-40B4-BE49-F238E27FC236}">
                  <a16:creationId xmlns:a16="http://schemas.microsoft.com/office/drawing/2014/main" id="{A7BAC983-26BD-03C2-17C8-ACAFDA2927D9}"/>
                </a:ext>
              </a:extLst>
            </p:cNvPr>
            <p:cNvSpPr/>
            <p:nvPr/>
          </p:nvSpPr>
          <p:spPr>
            <a:xfrm>
              <a:off x="6146065" y="1624692"/>
              <a:ext cx="2317015" cy="3012621"/>
            </a:xfrm>
            <a:prstGeom prst="roundRect">
              <a:avLst>
                <a:gd name="adj" fmla="val 3099"/>
              </a:avLst>
            </a:prstGeom>
            <a:noFill/>
            <a:ln w="1905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</p:grp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C6B842D2-A689-4F37-2776-B566B549735D}"/>
              </a:ext>
            </a:extLst>
          </p:cNvPr>
          <p:cNvSpPr/>
          <p:nvPr/>
        </p:nvSpPr>
        <p:spPr>
          <a:xfrm>
            <a:off x="1494952" y="1396092"/>
            <a:ext cx="7004886" cy="3301443"/>
          </a:xfrm>
          <a:prstGeom prst="roundRect">
            <a:avLst>
              <a:gd name="adj" fmla="val 3700"/>
            </a:avLst>
          </a:prstGeom>
          <a:noFill/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2274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7233">
        <p:fade/>
      </p:transition>
    </mc:Choice>
    <mc:Fallback xmlns="">
      <p:transition spd="med" advTm="47233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B6F8FC49-C712-840B-CA01-58BD698706ED}"/>
              </a:ext>
            </a:extLst>
          </p:cNvPr>
          <p:cNvSpPr txBox="1"/>
          <p:nvPr/>
        </p:nvSpPr>
        <p:spPr>
          <a:xfrm>
            <a:off x="116587" y="1480904"/>
            <a:ext cx="2398263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13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CA49368-DAB9-AEE2-4319-918068830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160" y="965945"/>
            <a:ext cx="8001000" cy="743371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Use-Case: Program &amp; Result Management (</a:t>
            </a:r>
            <a:r>
              <a:rPr lang="en-US" dirty="0" err="1">
                <a:solidFill>
                  <a:srgbClr val="0070C0"/>
                </a:solidFill>
              </a:rPr>
              <a:t>StartProgram</a:t>
            </a:r>
            <a:r>
              <a:rPr lang="en-US" dirty="0">
                <a:solidFill>
                  <a:srgbClr val="0070C0"/>
                </a:solidFill>
              </a:rPr>
              <a:t>())</a:t>
            </a:r>
            <a:br>
              <a:rPr lang="en-US" dirty="0">
                <a:solidFill>
                  <a:srgbClr val="0070C0"/>
                </a:solidFill>
              </a:rPr>
            </a:b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89C4954-7D19-0C97-7BDA-AE822E171E0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68AC6EB-2686-70CC-DF9D-5514A8CE9D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16295" y="1324257"/>
            <a:ext cx="3111409" cy="35626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Legende m. Linie (1) (Markierungsleiste) 10">
            <a:extLst>
              <a:ext uri="{FF2B5EF4-FFF2-40B4-BE49-F238E27FC236}">
                <a16:creationId xmlns:a16="http://schemas.microsoft.com/office/drawing/2014/main" id="{658587EE-C2E9-1222-9114-F72E3F7AE372}"/>
              </a:ext>
            </a:extLst>
          </p:cNvPr>
          <p:cNvSpPr/>
          <p:nvPr/>
        </p:nvSpPr>
        <p:spPr>
          <a:xfrm>
            <a:off x="1118128" y="1624772"/>
            <a:ext cx="965992" cy="605952"/>
          </a:xfrm>
          <a:prstGeom prst="accentCallout1">
            <a:avLst>
              <a:gd name="adj1" fmla="val 13344"/>
              <a:gd name="adj2" fmla="val 108880"/>
              <a:gd name="adj3" fmla="val 22315"/>
              <a:gd name="adj4" fmla="val 189834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Program template selector</a:t>
            </a:r>
          </a:p>
        </p:txBody>
      </p:sp>
      <p:sp>
        <p:nvSpPr>
          <p:cNvPr id="12" name="Legende m. Linie (1) (Markierungsleiste) 11">
            <a:extLst>
              <a:ext uri="{FF2B5EF4-FFF2-40B4-BE49-F238E27FC236}">
                <a16:creationId xmlns:a16="http://schemas.microsoft.com/office/drawing/2014/main" id="{77CF5A96-0A1F-F361-8DA0-E38E7C64A910}"/>
              </a:ext>
            </a:extLst>
          </p:cNvPr>
          <p:cNvSpPr/>
          <p:nvPr/>
        </p:nvSpPr>
        <p:spPr>
          <a:xfrm>
            <a:off x="1118128" y="3032100"/>
            <a:ext cx="965992" cy="605952"/>
          </a:xfrm>
          <a:prstGeom prst="accentCallout1">
            <a:avLst>
              <a:gd name="adj1" fmla="val 13344"/>
              <a:gd name="adj2" fmla="val 108880"/>
              <a:gd name="adj3" fmla="val 22315"/>
              <a:gd name="adj4" fmla="val 189834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Context information</a:t>
            </a:r>
          </a:p>
        </p:txBody>
      </p:sp>
      <p:sp>
        <p:nvSpPr>
          <p:cNvPr id="13" name="Legende m. Linie (1) (Markierungsleiste) 12">
            <a:extLst>
              <a:ext uri="{FF2B5EF4-FFF2-40B4-BE49-F238E27FC236}">
                <a16:creationId xmlns:a16="http://schemas.microsoft.com/office/drawing/2014/main" id="{B2FED824-0278-B78B-0328-0FB335D971E9}"/>
              </a:ext>
            </a:extLst>
          </p:cNvPr>
          <p:cNvSpPr/>
          <p:nvPr/>
        </p:nvSpPr>
        <p:spPr>
          <a:xfrm>
            <a:off x="1118128" y="3799173"/>
            <a:ext cx="965992" cy="605952"/>
          </a:xfrm>
          <a:prstGeom prst="accentCallout1">
            <a:avLst>
              <a:gd name="adj1" fmla="val 13344"/>
              <a:gd name="adj2" fmla="val 108880"/>
              <a:gd name="adj3" fmla="val 22315"/>
              <a:gd name="adj4" fmla="val 189834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Sample information</a:t>
            </a:r>
          </a:p>
        </p:txBody>
      </p:sp>
      <p:sp>
        <p:nvSpPr>
          <p:cNvPr id="14" name="Legende m. Linie (1) (Markierungsleiste) 13">
            <a:extLst>
              <a:ext uri="{FF2B5EF4-FFF2-40B4-BE49-F238E27FC236}">
                <a16:creationId xmlns:a16="http://schemas.microsoft.com/office/drawing/2014/main" id="{5BE9FED4-D3C5-EBD6-F7F3-E91686AE0878}"/>
              </a:ext>
            </a:extLst>
          </p:cNvPr>
          <p:cNvSpPr/>
          <p:nvPr/>
        </p:nvSpPr>
        <p:spPr>
          <a:xfrm>
            <a:off x="1118128" y="2328436"/>
            <a:ext cx="965992" cy="605952"/>
          </a:xfrm>
          <a:prstGeom prst="accentCallout1">
            <a:avLst>
              <a:gd name="adj1" fmla="val 13344"/>
              <a:gd name="adj2" fmla="val 108880"/>
              <a:gd name="adj3" fmla="val 22315"/>
              <a:gd name="adj4" fmla="val 189834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Additional properties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F0CDBD96-DFBF-85B9-3F8A-E15545984893}"/>
              </a:ext>
            </a:extLst>
          </p:cNvPr>
          <p:cNvSpPr/>
          <p:nvPr/>
        </p:nvSpPr>
        <p:spPr>
          <a:xfrm>
            <a:off x="3085661" y="1525790"/>
            <a:ext cx="2964075" cy="915332"/>
          </a:xfrm>
          <a:prstGeom prst="roundRect">
            <a:avLst>
              <a:gd name="adj" fmla="val 3099"/>
            </a:avLst>
          </a:prstGeom>
          <a:noFill/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3ED6272B-90F9-CE69-9B03-41A8DB224697}"/>
              </a:ext>
            </a:extLst>
          </p:cNvPr>
          <p:cNvSpPr/>
          <p:nvPr/>
        </p:nvSpPr>
        <p:spPr>
          <a:xfrm>
            <a:off x="3085660" y="2794474"/>
            <a:ext cx="2964075" cy="743371"/>
          </a:xfrm>
          <a:prstGeom prst="roundRect">
            <a:avLst>
              <a:gd name="adj" fmla="val 3099"/>
            </a:avLst>
          </a:prstGeom>
          <a:noFill/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36365875-AE01-D0B1-8F20-1FA64BB4C32A}"/>
              </a:ext>
            </a:extLst>
          </p:cNvPr>
          <p:cNvSpPr/>
          <p:nvPr/>
        </p:nvSpPr>
        <p:spPr>
          <a:xfrm>
            <a:off x="3085660" y="3627231"/>
            <a:ext cx="2964075" cy="846798"/>
          </a:xfrm>
          <a:prstGeom prst="roundRect">
            <a:avLst>
              <a:gd name="adj" fmla="val 3099"/>
            </a:avLst>
          </a:prstGeom>
          <a:noFill/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0" name="Legende m. Linie (1) (Markierungsleiste) 19">
            <a:extLst>
              <a:ext uri="{FF2B5EF4-FFF2-40B4-BE49-F238E27FC236}">
                <a16:creationId xmlns:a16="http://schemas.microsoft.com/office/drawing/2014/main" id="{DE184EBF-C001-EDCD-CCDF-A91CB29FFE29}"/>
              </a:ext>
            </a:extLst>
          </p:cNvPr>
          <p:cNvSpPr/>
          <p:nvPr/>
        </p:nvSpPr>
        <p:spPr>
          <a:xfrm>
            <a:off x="1118128" y="4538948"/>
            <a:ext cx="965992" cy="233965"/>
          </a:xfrm>
          <a:prstGeom prst="accentCallout1">
            <a:avLst>
              <a:gd name="adj1" fmla="val 13344"/>
              <a:gd name="adj2" fmla="val 108880"/>
              <a:gd name="adj3" fmla="val 78148"/>
              <a:gd name="adj4" fmla="val 210963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Start!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2166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7233">
        <p:fade/>
      </p:transition>
    </mc:Choice>
    <mc:Fallback xmlns="">
      <p:transition spd="med" advTm="47233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59D70EEF-CED7-40AC-B630-F4285B7C3D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7255" y="1377198"/>
            <a:ext cx="3454810" cy="35779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B6F8FC49-C712-840B-CA01-58BD698706ED}"/>
              </a:ext>
            </a:extLst>
          </p:cNvPr>
          <p:cNvSpPr txBox="1"/>
          <p:nvPr/>
        </p:nvSpPr>
        <p:spPr>
          <a:xfrm>
            <a:off x="116587" y="1480904"/>
            <a:ext cx="2398263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13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CA49368-DAB9-AEE2-4319-918068830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160" y="965945"/>
            <a:ext cx="8001000" cy="743371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Use-Case: Program &amp; Result Management (Execution Progress)</a:t>
            </a:r>
            <a:br>
              <a:rPr lang="en-US" dirty="0">
                <a:solidFill>
                  <a:srgbClr val="0070C0"/>
                </a:solidFill>
              </a:rPr>
            </a:b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89C4954-7D19-0C97-7BDA-AE822E171E0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  <p:sp>
        <p:nvSpPr>
          <p:cNvPr id="11" name="Legende m. Linie (1) (Markierungsleiste) 10">
            <a:extLst>
              <a:ext uri="{FF2B5EF4-FFF2-40B4-BE49-F238E27FC236}">
                <a16:creationId xmlns:a16="http://schemas.microsoft.com/office/drawing/2014/main" id="{658587EE-C2E9-1222-9114-F72E3F7AE372}"/>
              </a:ext>
            </a:extLst>
          </p:cNvPr>
          <p:cNvSpPr/>
          <p:nvPr/>
        </p:nvSpPr>
        <p:spPr>
          <a:xfrm>
            <a:off x="1118128" y="1624772"/>
            <a:ext cx="965992" cy="605952"/>
          </a:xfrm>
          <a:prstGeom prst="accentCallout1">
            <a:avLst>
              <a:gd name="adj1" fmla="val 13344"/>
              <a:gd name="adj2" fmla="val 108880"/>
              <a:gd name="adj3" fmla="val 22315"/>
              <a:gd name="adj4" fmla="val 189834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Progress indicators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(computed based on ..)</a:t>
            </a:r>
          </a:p>
        </p:txBody>
      </p:sp>
      <p:sp>
        <p:nvSpPr>
          <p:cNvPr id="12" name="Legende m. Linie (1) (Markierungsleiste) 11">
            <a:extLst>
              <a:ext uri="{FF2B5EF4-FFF2-40B4-BE49-F238E27FC236}">
                <a16:creationId xmlns:a16="http://schemas.microsoft.com/office/drawing/2014/main" id="{77CF5A96-0A1F-F361-8DA0-E38E7C64A910}"/>
              </a:ext>
            </a:extLst>
          </p:cNvPr>
          <p:cNvSpPr/>
          <p:nvPr/>
        </p:nvSpPr>
        <p:spPr>
          <a:xfrm>
            <a:off x="1118128" y="3032100"/>
            <a:ext cx="965992" cy="605952"/>
          </a:xfrm>
          <a:prstGeom prst="accentCallout1">
            <a:avLst>
              <a:gd name="adj1" fmla="val 13344"/>
              <a:gd name="adj2" fmla="val 108880"/>
              <a:gd name="adj3" fmla="val 22315"/>
              <a:gd name="adj4" fmla="val 189834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Detail information (typically hidden)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F0CDBD96-DFBF-85B9-3F8A-E15545984893}"/>
              </a:ext>
            </a:extLst>
          </p:cNvPr>
          <p:cNvSpPr/>
          <p:nvPr/>
        </p:nvSpPr>
        <p:spPr>
          <a:xfrm>
            <a:off x="2964325" y="1404006"/>
            <a:ext cx="3338504" cy="1047484"/>
          </a:xfrm>
          <a:prstGeom prst="roundRect">
            <a:avLst>
              <a:gd name="adj" fmla="val 3099"/>
            </a:avLst>
          </a:prstGeom>
          <a:noFill/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id="{4737692C-9F58-200B-720F-A657647DA4BD}"/>
              </a:ext>
            </a:extLst>
          </p:cNvPr>
          <p:cNvSpPr/>
          <p:nvPr/>
        </p:nvSpPr>
        <p:spPr>
          <a:xfrm>
            <a:off x="2975408" y="2467160"/>
            <a:ext cx="3338504" cy="2352795"/>
          </a:xfrm>
          <a:prstGeom prst="roundRect">
            <a:avLst>
              <a:gd name="adj" fmla="val 3099"/>
            </a:avLst>
          </a:prstGeom>
          <a:noFill/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60770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7233">
        <p:fade/>
      </p:transition>
    </mc:Choice>
    <mc:Fallback xmlns="">
      <p:transition spd="med" advTm="47233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59D70EEF-CED7-40AC-B630-F4285B7C3D6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001201" y="1377198"/>
            <a:ext cx="3286917" cy="35779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B6F8FC49-C712-840B-CA01-58BD698706ED}"/>
              </a:ext>
            </a:extLst>
          </p:cNvPr>
          <p:cNvSpPr txBox="1"/>
          <p:nvPr/>
        </p:nvSpPr>
        <p:spPr>
          <a:xfrm>
            <a:off x="116587" y="1480904"/>
            <a:ext cx="2398263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13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CA49368-DAB9-AEE2-4319-918068830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160" y="965945"/>
            <a:ext cx="8001000" cy="743371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Use-Case: Program &amp; Result Management (Results)</a:t>
            </a:r>
            <a:br>
              <a:rPr lang="en-US" dirty="0">
                <a:solidFill>
                  <a:srgbClr val="0070C0"/>
                </a:solidFill>
              </a:rPr>
            </a:b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89C4954-7D19-0C97-7BDA-AE822E171E0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  <p:sp>
        <p:nvSpPr>
          <p:cNvPr id="11" name="Legende m. Linie (1) (Markierungsleiste) 10">
            <a:extLst>
              <a:ext uri="{FF2B5EF4-FFF2-40B4-BE49-F238E27FC236}">
                <a16:creationId xmlns:a16="http://schemas.microsoft.com/office/drawing/2014/main" id="{658587EE-C2E9-1222-9114-F72E3F7AE372}"/>
              </a:ext>
            </a:extLst>
          </p:cNvPr>
          <p:cNvSpPr/>
          <p:nvPr/>
        </p:nvSpPr>
        <p:spPr>
          <a:xfrm>
            <a:off x="652253" y="1627610"/>
            <a:ext cx="1348396" cy="605952"/>
          </a:xfrm>
          <a:prstGeom prst="accentCallout1">
            <a:avLst>
              <a:gd name="adj1" fmla="val 13344"/>
              <a:gd name="adj2" fmla="val 108880"/>
              <a:gd name="adj3" fmla="val 96899"/>
              <a:gd name="adj4" fmla="val 187051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Program run specific context &amp; meta-data 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 traceability</a:t>
            </a:r>
            <a:endParaRPr lang="en-US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" name="Legende m. Linie (1) (Markierungsleiste) 11">
            <a:extLst>
              <a:ext uri="{FF2B5EF4-FFF2-40B4-BE49-F238E27FC236}">
                <a16:creationId xmlns:a16="http://schemas.microsoft.com/office/drawing/2014/main" id="{77CF5A96-0A1F-F361-8DA0-E38E7C64A910}"/>
              </a:ext>
            </a:extLst>
          </p:cNvPr>
          <p:cNvSpPr/>
          <p:nvPr/>
        </p:nvSpPr>
        <p:spPr>
          <a:xfrm>
            <a:off x="619358" y="3935989"/>
            <a:ext cx="1381291" cy="605952"/>
          </a:xfrm>
          <a:prstGeom prst="accentCallout1">
            <a:avLst>
              <a:gd name="adj1" fmla="val 13344"/>
              <a:gd name="adj2" fmla="val 108880"/>
              <a:gd name="adj3" fmla="val 41395"/>
              <a:gd name="adj4" fmla="val 178766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Program run  specific result data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(application specific)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F0CDBD96-DFBF-85B9-3F8A-E15545984893}"/>
              </a:ext>
            </a:extLst>
          </p:cNvPr>
          <p:cNvSpPr/>
          <p:nvPr/>
        </p:nvSpPr>
        <p:spPr>
          <a:xfrm>
            <a:off x="3085661" y="1944414"/>
            <a:ext cx="3089167" cy="1902371"/>
          </a:xfrm>
          <a:prstGeom prst="roundRect">
            <a:avLst>
              <a:gd name="adj" fmla="val 3099"/>
            </a:avLst>
          </a:prstGeom>
          <a:noFill/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id="{4737692C-9F58-200B-720F-A657647DA4BD}"/>
              </a:ext>
            </a:extLst>
          </p:cNvPr>
          <p:cNvSpPr/>
          <p:nvPr/>
        </p:nvSpPr>
        <p:spPr>
          <a:xfrm>
            <a:off x="3085661" y="3865503"/>
            <a:ext cx="3089167" cy="1041234"/>
          </a:xfrm>
          <a:prstGeom prst="roundRect">
            <a:avLst>
              <a:gd name="adj" fmla="val 3099"/>
            </a:avLst>
          </a:prstGeom>
          <a:noFill/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57646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7233">
        <p:fade/>
      </p:transition>
    </mc:Choice>
    <mc:Fallback xmlns="">
      <p:transition spd="med" advTm="47233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B6F8FC49-C712-840B-CA01-58BD698706ED}"/>
              </a:ext>
            </a:extLst>
          </p:cNvPr>
          <p:cNvSpPr txBox="1"/>
          <p:nvPr/>
        </p:nvSpPr>
        <p:spPr>
          <a:xfrm>
            <a:off x="116587" y="1480904"/>
            <a:ext cx="2398263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13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CA49368-DAB9-AEE2-4319-918068830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160" y="965945"/>
            <a:ext cx="8001000" cy="743371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Use-Case: Asset Management (Overview)</a:t>
            </a:r>
            <a:br>
              <a:rPr lang="en-US" dirty="0">
                <a:solidFill>
                  <a:srgbClr val="0070C0"/>
                </a:solidFill>
              </a:rPr>
            </a:b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89C4954-7D19-0C97-7BDA-AE822E171E0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49D71CC-B2E6-6CFE-1D7B-3E8D759437D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39043" y="1337630"/>
            <a:ext cx="5056834" cy="35713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Legende m. Linie (1) (Markierungsleiste) 9">
            <a:extLst>
              <a:ext uri="{FF2B5EF4-FFF2-40B4-BE49-F238E27FC236}">
                <a16:creationId xmlns:a16="http://schemas.microsoft.com/office/drawing/2014/main" id="{7408929B-A841-0ECC-866F-10AD359FD60B}"/>
              </a:ext>
            </a:extLst>
          </p:cNvPr>
          <p:cNvSpPr/>
          <p:nvPr/>
        </p:nvSpPr>
        <p:spPr>
          <a:xfrm>
            <a:off x="286327" y="2555421"/>
            <a:ext cx="1070073" cy="605952"/>
          </a:xfrm>
          <a:prstGeom prst="accentCallout1">
            <a:avLst>
              <a:gd name="adj1" fmla="val 13344"/>
              <a:gd name="adj2" fmla="val 108880"/>
              <a:gd name="adj3" fmla="val 22315"/>
              <a:gd name="adj4" fmla="val 189834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Device 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state &amp; mode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(DI, Machinery)</a:t>
            </a:r>
          </a:p>
        </p:txBody>
      </p:sp>
      <p:sp>
        <p:nvSpPr>
          <p:cNvPr id="11" name="Legende m. Linie (1) (Markierungsleiste) 10">
            <a:extLst>
              <a:ext uri="{FF2B5EF4-FFF2-40B4-BE49-F238E27FC236}">
                <a16:creationId xmlns:a16="http://schemas.microsoft.com/office/drawing/2014/main" id="{31AE289A-0303-B555-50D5-0FF5F1B394BA}"/>
              </a:ext>
            </a:extLst>
          </p:cNvPr>
          <p:cNvSpPr/>
          <p:nvPr/>
        </p:nvSpPr>
        <p:spPr>
          <a:xfrm>
            <a:off x="390408" y="1729113"/>
            <a:ext cx="965992" cy="605952"/>
          </a:xfrm>
          <a:prstGeom prst="accentCallout1">
            <a:avLst>
              <a:gd name="adj1" fmla="val 13344"/>
              <a:gd name="adj2" fmla="val 108880"/>
              <a:gd name="adj3" fmla="val 22315"/>
              <a:gd name="adj4" fmla="val 189834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Device control</a:t>
            </a:r>
          </a:p>
        </p:txBody>
      </p:sp>
      <p:sp>
        <p:nvSpPr>
          <p:cNvPr id="12" name="Legende m. Linie (1) (Markierungsleiste) 11">
            <a:extLst>
              <a:ext uri="{FF2B5EF4-FFF2-40B4-BE49-F238E27FC236}">
                <a16:creationId xmlns:a16="http://schemas.microsoft.com/office/drawing/2014/main" id="{2929186E-5630-4FFE-8D11-99CA9FE812C8}"/>
              </a:ext>
            </a:extLst>
          </p:cNvPr>
          <p:cNvSpPr/>
          <p:nvPr/>
        </p:nvSpPr>
        <p:spPr>
          <a:xfrm>
            <a:off x="7854609" y="1902568"/>
            <a:ext cx="846306" cy="479898"/>
          </a:xfrm>
          <a:prstGeom prst="accentCallout1">
            <a:avLst>
              <a:gd name="adj1" fmla="val 22804"/>
              <a:gd name="adj2" fmla="val 6198"/>
              <a:gd name="adj3" fmla="val 209954"/>
              <a:gd name="adj4" fmla="val -272067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Device location</a:t>
            </a:r>
          </a:p>
        </p:txBody>
      </p:sp>
      <p:sp>
        <p:nvSpPr>
          <p:cNvPr id="13" name="Legende m. Linie (1) (Markierungsleiste) 12">
            <a:extLst>
              <a:ext uri="{FF2B5EF4-FFF2-40B4-BE49-F238E27FC236}">
                <a16:creationId xmlns:a16="http://schemas.microsoft.com/office/drawing/2014/main" id="{7444AB1A-7DC5-8D50-E96A-DE18AD61A475}"/>
              </a:ext>
            </a:extLst>
          </p:cNvPr>
          <p:cNvSpPr/>
          <p:nvPr/>
        </p:nvSpPr>
        <p:spPr>
          <a:xfrm>
            <a:off x="390408" y="4080428"/>
            <a:ext cx="965992" cy="605952"/>
          </a:xfrm>
          <a:prstGeom prst="accentCallout1">
            <a:avLst>
              <a:gd name="adj1" fmla="val 13344"/>
              <a:gd name="adj2" fmla="val 108880"/>
              <a:gd name="adj3" fmla="val 65430"/>
              <a:gd name="adj4" fmla="val 195750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Device components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(Condition Monitoring)</a:t>
            </a: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9EDDA636-B67D-A365-2318-26176A0A3822}"/>
              </a:ext>
            </a:extLst>
          </p:cNvPr>
          <p:cNvSpPr/>
          <p:nvPr/>
        </p:nvSpPr>
        <p:spPr>
          <a:xfrm>
            <a:off x="2196192" y="4261757"/>
            <a:ext cx="4939393" cy="644979"/>
          </a:xfrm>
          <a:prstGeom prst="roundRect">
            <a:avLst>
              <a:gd name="adj" fmla="val 3099"/>
            </a:avLst>
          </a:prstGeom>
          <a:noFill/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BDD26D9F-0B1B-AFC0-5D4C-6A121FC08C93}"/>
              </a:ext>
            </a:extLst>
          </p:cNvPr>
          <p:cNvSpPr/>
          <p:nvPr/>
        </p:nvSpPr>
        <p:spPr>
          <a:xfrm>
            <a:off x="2183128" y="1582398"/>
            <a:ext cx="1645922" cy="856099"/>
          </a:xfrm>
          <a:prstGeom prst="roundRect">
            <a:avLst>
              <a:gd name="adj" fmla="val 3099"/>
            </a:avLst>
          </a:prstGeom>
          <a:noFill/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E0D94348-2A5F-3CC6-5228-7CCD4F2FE557}"/>
              </a:ext>
            </a:extLst>
          </p:cNvPr>
          <p:cNvSpPr/>
          <p:nvPr/>
        </p:nvSpPr>
        <p:spPr>
          <a:xfrm>
            <a:off x="2183128" y="2458294"/>
            <a:ext cx="1645922" cy="1501385"/>
          </a:xfrm>
          <a:prstGeom prst="roundRect">
            <a:avLst>
              <a:gd name="adj" fmla="val 3099"/>
            </a:avLst>
          </a:prstGeom>
          <a:noFill/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095B11B5-AACD-3173-350E-743C60BADD42}"/>
              </a:ext>
            </a:extLst>
          </p:cNvPr>
          <p:cNvSpPr/>
          <p:nvPr/>
        </p:nvSpPr>
        <p:spPr>
          <a:xfrm>
            <a:off x="3873135" y="1582398"/>
            <a:ext cx="3262450" cy="2595157"/>
          </a:xfrm>
          <a:prstGeom prst="roundRect">
            <a:avLst>
              <a:gd name="adj" fmla="val 3099"/>
            </a:avLst>
          </a:prstGeom>
          <a:noFill/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id="{5FA159DD-6EEE-015D-5140-DE3042FD5A4E}"/>
              </a:ext>
            </a:extLst>
          </p:cNvPr>
          <p:cNvSpPr/>
          <p:nvPr/>
        </p:nvSpPr>
        <p:spPr>
          <a:xfrm>
            <a:off x="2104371" y="1274171"/>
            <a:ext cx="5146174" cy="3671902"/>
          </a:xfrm>
          <a:prstGeom prst="roundRect">
            <a:avLst>
              <a:gd name="adj" fmla="val 3099"/>
            </a:avLst>
          </a:prstGeom>
          <a:noFill/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0723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7233">
        <p:fade/>
      </p:transition>
    </mc:Choice>
    <mc:Fallback xmlns="">
      <p:transition spd="med" advTm="47233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8EC42D0-36BE-043D-D941-3A317420D95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00378" y="1480904"/>
            <a:ext cx="5088563" cy="30710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B6F8FC49-C712-840B-CA01-58BD698706ED}"/>
              </a:ext>
            </a:extLst>
          </p:cNvPr>
          <p:cNvSpPr txBox="1"/>
          <p:nvPr/>
        </p:nvSpPr>
        <p:spPr>
          <a:xfrm>
            <a:off x="116587" y="1480904"/>
            <a:ext cx="2398263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13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CA49368-DAB9-AEE2-4319-918068830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160" y="965945"/>
            <a:ext cx="8001000" cy="743371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Use-Case: Asset Management (Nameplate)</a:t>
            </a:r>
            <a:br>
              <a:rPr lang="en-US" dirty="0">
                <a:solidFill>
                  <a:srgbClr val="0070C0"/>
                </a:solidFill>
              </a:rPr>
            </a:b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89C4954-7D19-0C97-7BDA-AE822E171E0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id="{DC128752-7398-057C-686A-D1783EEB15E0}"/>
              </a:ext>
            </a:extLst>
          </p:cNvPr>
          <p:cNvSpPr/>
          <p:nvPr/>
        </p:nvSpPr>
        <p:spPr>
          <a:xfrm>
            <a:off x="2199457" y="1796742"/>
            <a:ext cx="1645922" cy="2318058"/>
          </a:xfrm>
          <a:prstGeom prst="roundRect">
            <a:avLst>
              <a:gd name="adj" fmla="val 3099"/>
            </a:avLst>
          </a:prstGeom>
          <a:noFill/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8" name="Legende m. Linie (1) (Markierungsleiste) 7">
            <a:extLst>
              <a:ext uri="{FF2B5EF4-FFF2-40B4-BE49-F238E27FC236}">
                <a16:creationId xmlns:a16="http://schemas.microsoft.com/office/drawing/2014/main" id="{94F88DB1-38CE-2F55-08A3-DE92C51142D5}"/>
              </a:ext>
            </a:extLst>
          </p:cNvPr>
          <p:cNvSpPr/>
          <p:nvPr/>
        </p:nvSpPr>
        <p:spPr>
          <a:xfrm>
            <a:off x="267855" y="1729113"/>
            <a:ext cx="1088545" cy="605952"/>
          </a:xfrm>
          <a:prstGeom prst="accentCallout1">
            <a:avLst>
              <a:gd name="adj1" fmla="val 13344"/>
              <a:gd name="adj2" fmla="val 108880"/>
              <a:gd name="adj3" fmla="val 22315"/>
              <a:gd name="adj4" fmla="val 189834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Nameplate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(DI, Machinery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6671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7233">
        <p:fade/>
      </p:transition>
    </mc:Choice>
    <mc:Fallback xmlns="">
      <p:transition spd="med" advTm="47233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89C4954-7D19-0C97-7BDA-AE822E171E0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8EC42D0-36BE-043D-D941-3A317420D95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27718" y="1605008"/>
            <a:ext cx="5088563" cy="24234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B6F8FC49-C712-840B-CA01-58BD698706ED}"/>
              </a:ext>
            </a:extLst>
          </p:cNvPr>
          <p:cNvSpPr txBox="1"/>
          <p:nvPr/>
        </p:nvSpPr>
        <p:spPr>
          <a:xfrm>
            <a:off x="116587" y="1480904"/>
            <a:ext cx="2398263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13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CA49368-DAB9-AEE2-4319-918068830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160" y="965945"/>
            <a:ext cx="8001000" cy="743371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Use-Case: Asset Management (Condition Monitoring)</a:t>
            </a:r>
            <a:br>
              <a:rPr lang="en-US" dirty="0">
                <a:solidFill>
                  <a:srgbClr val="0070C0"/>
                </a:solidFill>
              </a:rPr>
            </a:b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10" name="Legende m. Linie (1) (Markierungsleiste) 9">
            <a:extLst>
              <a:ext uri="{FF2B5EF4-FFF2-40B4-BE49-F238E27FC236}">
                <a16:creationId xmlns:a16="http://schemas.microsoft.com/office/drawing/2014/main" id="{7408929B-A841-0ECC-866F-10AD359FD60B}"/>
              </a:ext>
            </a:extLst>
          </p:cNvPr>
          <p:cNvSpPr/>
          <p:nvPr/>
        </p:nvSpPr>
        <p:spPr>
          <a:xfrm>
            <a:off x="498839" y="3213313"/>
            <a:ext cx="965992" cy="605952"/>
          </a:xfrm>
          <a:prstGeom prst="accentCallout1">
            <a:avLst>
              <a:gd name="adj1" fmla="val 13344"/>
              <a:gd name="adj2" fmla="val 108880"/>
              <a:gd name="adj3" fmla="val -18105"/>
              <a:gd name="adj4" fmla="val 336894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Operation counters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(DI)</a:t>
            </a:r>
          </a:p>
        </p:txBody>
      </p:sp>
      <p:sp>
        <p:nvSpPr>
          <p:cNvPr id="12" name="Legende m. Linie (1) (Markierungsleiste) 11">
            <a:extLst>
              <a:ext uri="{FF2B5EF4-FFF2-40B4-BE49-F238E27FC236}">
                <a16:creationId xmlns:a16="http://schemas.microsoft.com/office/drawing/2014/main" id="{2929186E-5630-4FFE-8D11-99CA9FE812C8}"/>
              </a:ext>
            </a:extLst>
          </p:cNvPr>
          <p:cNvSpPr/>
          <p:nvPr/>
        </p:nvSpPr>
        <p:spPr>
          <a:xfrm>
            <a:off x="7932774" y="2816748"/>
            <a:ext cx="974462" cy="479898"/>
          </a:xfrm>
          <a:prstGeom prst="accentCallout1">
            <a:avLst>
              <a:gd name="adj1" fmla="val 22804"/>
              <a:gd name="adj2" fmla="val 6198"/>
              <a:gd name="adj3" fmla="val 128294"/>
              <a:gd name="adj4" fmla="val -118680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Lifetime Counters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(DI, AMB)</a:t>
            </a:r>
          </a:p>
        </p:txBody>
      </p:sp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id="{43E82A63-F144-C543-3C9F-C1E54833FED3}"/>
              </a:ext>
            </a:extLst>
          </p:cNvPr>
          <p:cNvSpPr/>
          <p:nvPr/>
        </p:nvSpPr>
        <p:spPr>
          <a:xfrm>
            <a:off x="3749038" y="2881384"/>
            <a:ext cx="1645922" cy="1045637"/>
          </a:xfrm>
          <a:prstGeom prst="roundRect">
            <a:avLst>
              <a:gd name="adj" fmla="val 3099"/>
            </a:avLst>
          </a:prstGeom>
          <a:noFill/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3AF51B02-DCD3-D1EE-DAA4-866D78A6CD33}"/>
              </a:ext>
            </a:extLst>
          </p:cNvPr>
          <p:cNvSpPr/>
          <p:nvPr/>
        </p:nvSpPr>
        <p:spPr>
          <a:xfrm>
            <a:off x="5411838" y="2886218"/>
            <a:ext cx="1645922" cy="1045637"/>
          </a:xfrm>
          <a:prstGeom prst="roundRect">
            <a:avLst>
              <a:gd name="adj" fmla="val 3099"/>
            </a:avLst>
          </a:prstGeom>
          <a:noFill/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0427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7233">
        <p:fade/>
      </p:transition>
    </mc:Choice>
    <mc:Fallback xmlns="">
      <p:transition spd="med" advTm="47233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683568" y="981645"/>
            <a:ext cx="8001000" cy="571500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Pythonic LADS OPC UA Client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Call for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LADShack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community support!</a:t>
            </a: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03504CD0-A3C5-7340-B418-767F1075AA00}"/>
              </a:ext>
            </a:extLst>
          </p:cNvPr>
          <p:cNvSpPr txBox="1"/>
          <p:nvPr/>
        </p:nvSpPr>
        <p:spPr>
          <a:xfrm>
            <a:off x="1223628" y="4548667"/>
            <a:ext cx="14976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Low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E7F53F94-614C-004A-AAAF-1E2D0985D026}"/>
              </a:ext>
            </a:extLst>
          </p:cNvPr>
          <p:cNvSpPr/>
          <p:nvPr/>
        </p:nvSpPr>
        <p:spPr>
          <a:xfrm>
            <a:off x="683568" y="2008409"/>
            <a:ext cx="800100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I intend to make the LADS OPC UA Client accessible under MIT license via GitHub.</a:t>
            </a:r>
          </a:p>
          <a:p>
            <a:endParaRPr lang="en-US" sz="1600" dirty="0"/>
          </a:p>
          <a:p>
            <a:r>
              <a:rPr lang="en-US" sz="1600" dirty="0"/>
              <a:t>Since I’m not an expert in Python I need your </a:t>
            </a:r>
            <a:r>
              <a:rPr lang="en-US" sz="1600" b="1" dirty="0"/>
              <a:t>active support </a:t>
            </a:r>
            <a:r>
              <a:rPr lang="en-US" sz="1600" dirty="0"/>
              <a:t>fo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Refactor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Quality Improvem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Packaging / bundl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..</a:t>
            </a:r>
          </a:p>
          <a:p>
            <a:r>
              <a:rPr lang="en-US" sz="1600" dirty="0"/>
              <a:t>Once the project is in an acceptable “shape” it will be available for all!</a:t>
            </a:r>
          </a:p>
          <a:p>
            <a:endParaRPr lang="en-US" sz="1600" dirty="0">
              <a:sym typeface="Wingdings" pitchFamily="2" charset="2"/>
            </a:endParaRPr>
          </a:p>
          <a:p>
            <a:r>
              <a:rPr lang="en-US" sz="1600" dirty="0">
                <a:sym typeface="Wingdings" pitchFamily="2" charset="2"/>
              </a:rPr>
              <a:t> Reach out to me </a:t>
            </a:r>
            <a:r>
              <a:rPr lang="en-US" sz="1600" dirty="0" err="1">
                <a:sym typeface="Wingdings" pitchFamily="2" charset="2"/>
              </a:rPr>
              <a:t>M.Arnold@AixEngineers.de</a:t>
            </a:r>
            <a:endParaRPr lang="en-US" sz="16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74A2E8D-4ABD-48F7-C9E3-52713C40D15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9910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8333">
        <p:fade/>
      </p:transition>
    </mc:Choice>
    <mc:Fallback xmlns="">
      <p:transition spd="med" advTm="98333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683568" y="981645"/>
            <a:ext cx="8001000" cy="571500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Pythonic LADS OPC UA Client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Known Issues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opcua-asyncio</a:t>
            </a:r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03504CD0-A3C5-7340-B418-767F1075AA00}"/>
              </a:ext>
            </a:extLst>
          </p:cNvPr>
          <p:cNvSpPr txBox="1"/>
          <p:nvPr/>
        </p:nvSpPr>
        <p:spPr>
          <a:xfrm>
            <a:off x="1223628" y="4548667"/>
            <a:ext cx="14976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Low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E7F53F94-614C-004A-AAAF-1E2D0985D026}"/>
              </a:ext>
            </a:extLst>
          </p:cNvPr>
          <p:cNvSpPr/>
          <p:nvPr/>
        </p:nvSpPr>
        <p:spPr>
          <a:xfrm>
            <a:off x="683568" y="2008409"/>
            <a:ext cx="388843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Variables with extension-object based variables not updates in subscrip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vent subscriptions loose events which are transferred as list on one mess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load_data</a:t>
            </a:r>
            <a:r>
              <a:rPr lang="en-US" sz="1600" dirty="0"/>
              <a:t>-types() has design issues: </a:t>
            </a:r>
            <a:br>
              <a:rPr lang="en-US" sz="1600" dirty="0"/>
            </a:br>
            <a:r>
              <a:rPr lang="en-US" sz="1600" dirty="0"/>
              <a:t>can only be called once and has global context instead of client-based contex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.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74A2E8D-4ABD-48F7-C9E3-52713C40D15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CF3A409-56D2-6C53-D0A5-03874A96061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50000"/>
          </a:blip>
          <a:srcRect r="3861"/>
          <a:stretch/>
        </p:blipFill>
        <p:spPr>
          <a:xfrm>
            <a:off x="4572000" y="845153"/>
            <a:ext cx="3898623" cy="354396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3DCE2326-E0CA-DAE7-7298-0CFDA37FB5A0}"/>
              </a:ext>
            </a:extLst>
          </p:cNvPr>
          <p:cNvSpPr txBox="1"/>
          <p:nvPr/>
        </p:nvSpPr>
        <p:spPr>
          <a:xfrm rot="18796733">
            <a:off x="4934981" y="2387084"/>
            <a:ext cx="31726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>
                <a:solidFill>
                  <a:srgbClr val="0070C0"/>
                </a:solidFill>
              </a:rPr>
              <a:t>Issues still to be reported ..</a:t>
            </a:r>
          </a:p>
        </p:txBody>
      </p:sp>
    </p:spTree>
    <p:extLst>
      <p:ext uri="{BB962C8B-B14F-4D97-AF65-F5344CB8AC3E}">
        <p14:creationId xmlns:p14="http://schemas.microsoft.com/office/powerpoint/2010/main" val="3023191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8333">
        <p:fade/>
      </p:transition>
    </mc:Choice>
    <mc:Fallback xmlns="">
      <p:transition spd="med" advTm="98333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D8770BD9-21E6-6446-ADF5-C87EB5E6457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4683907" y="4094043"/>
            <a:ext cx="684310" cy="78799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5FDF930-2577-D041-800C-130696B9B526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5416" y="4203025"/>
            <a:ext cx="494889" cy="53803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EA01F7A-2B11-B942-95D1-79C2C6505C2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2204" y="3998987"/>
            <a:ext cx="519818" cy="844636"/>
          </a:xfrm>
          <a:prstGeom prst="rect">
            <a:avLst/>
          </a:prstGeom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A12D6F7B-ED91-3C4F-B762-E88464F2B7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hqprint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0" r="100000">
                        <a14:foregroundMark x1="11609" y1="24858" x2="9121" y2="15435"/>
                        <a14:foregroundMark x1="9121" y1="15435" x2="10779" y2="6093"/>
                        <a14:foregroundMark x1="17413" y1="0" x2="10779" y2="6011"/>
                        <a14:foregroundMark x1="17993" y1="0" x2="23217" y2="6824"/>
                        <a14:foregroundMark x1="29270" y1="0" x2="23300" y2="6824"/>
                        <a14:foregroundMark x1="30431" y1="0" x2="35406" y2="7799"/>
                        <a14:foregroundMark x1="35489" y1="7880" x2="37313" y2="2542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637465" y="3795091"/>
            <a:ext cx="1156950" cy="11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7102E025-C7F0-164F-8944-4A59FD3D9613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1920" y="3932838"/>
            <a:ext cx="438174" cy="1048518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9FF40168-4A7C-1E41-81C5-83CB9BA4331E}"/>
              </a:ext>
            </a:extLst>
          </p:cNvPr>
          <p:cNvSpPr/>
          <p:nvPr/>
        </p:nvSpPr>
        <p:spPr>
          <a:xfrm>
            <a:off x="2451624" y="2635863"/>
            <a:ext cx="5034075" cy="322583"/>
          </a:xfrm>
          <a:prstGeom prst="rect">
            <a:avLst/>
          </a:prstGeom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13" dirty="0" err="1"/>
              <a:t>lads_viewer.py</a:t>
            </a:r>
            <a:r>
              <a:rPr lang="en-US" sz="1013" dirty="0"/>
              <a:t> (based on </a:t>
            </a:r>
            <a:r>
              <a:rPr lang="en-US" sz="1013" dirty="0" err="1"/>
              <a:t>streamlit.io</a:t>
            </a:r>
            <a:r>
              <a:rPr lang="en-US" sz="1013" dirty="0"/>
              <a:t>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0989EF9-31F2-304E-9340-A476D1C9E20A}"/>
              </a:ext>
            </a:extLst>
          </p:cNvPr>
          <p:cNvSpPr/>
          <p:nvPr/>
        </p:nvSpPr>
        <p:spPr>
          <a:xfrm>
            <a:off x="2451624" y="3354049"/>
            <a:ext cx="5045533" cy="322583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13" dirty="0"/>
              <a:t>LADS OPC UA enabled devices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92F0E77-8B26-ED43-942A-9C37040412A4}"/>
              </a:ext>
            </a:extLst>
          </p:cNvPr>
          <p:cNvSpPr txBox="1"/>
          <p:nvPr/>
        </p:nvSpPr>
        <p:spPr>
          <a:xfrm rot="16200000">
            <a:off x="6965239" y="2553318"/>
            <a:ext cx="3828484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bg1">
                    <a:lumMod val="65000"/>
                  </a:schemeClr>
                </a:solidFill>
              </a:rPr>
              <a:t>Images copyright by Eppendorf AG, Schmidt &amp; </a:t>
            </a:r>
            <a:r>
              <a:rPr lang="en-US" sz="750" dirty="0" err="1">
                <a:solidFill>
                  <a:schemeClr val="bg1">
                    <a:lumMod val="65000"/>
                  </a:schemeClr>
                </a:solidFill>
              </a:rPr>
              <a:t>Haensch</a:t>
            </a:r>
            <a:r>
              <a:rPr lang="en-US" sz="750" dirty="0">
                <a:solidFill>
                  <a:schemeClr val="bg1">
                    <a:lumMod val="65000"/>
                  </a:schemeClr>
                </a:solidFill>
              </a:rPr>
              <a:t>, 2mag, Agilent, Hett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798DAD4-7478-6491-370A-5054E675DCC6}"/>
              </a:ext>
            </a:extLst>
          </p:cNvPr>
          <p:cNvSpPr/>
          <p:nvPr/>
        </p:nvSpPr>
        <p:spPr>
          <a:xfrm>
            <a:off x="2451625" y="2958447"/>
            <a:ext cx="5045532" cy="289017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13" dirty="0" err="1"/>
              <a:t>lads</a:t>
            </a:r>
            <a:r>
              <a:rPr lang="en-US" sz="1013" err="1"/>
              <a:t>_</a:t>
            </a:r>
            <a:r>
              <a:rPr lang="en-US" sz="1013"/>
              <a:t>client.py</a:t>
            </a:r>
            <a:r>
              <a:rPr lang="en-US" sz="1013" dirty="0"/>
              <a:t> (</a:t>
            </a:r>
            <a:r>
              <a:rPr lang="en-US" sz="1013"/>
              <a:t>based on opcua-asyncio)</a:t>
            </a:r>
            <a:endParaRPr lang="en-US" sz="1013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6F8FC49-C712-840B-CA01-58BD698706ED}"/>
              </a:ext>
            </a:extLst>
          </p:cNvPr>
          <p:cNvSpPr txBox="1"/>
          <p:nvPr/>
        </p:nvSpPr>
        <p:spPr>
          <a:xfrm>
            <a:off x="116587" y="1480904"/>
            <a:ext cx="2398263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13" b="1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EF3C182-FAA9-B5ED-C4AF-C7E3E94C356B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2595454" y="162144"/>
            <a:ext cx="3015626" cy="23594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BCD593DA-94A5-3FD5-5336-6C8606BAE43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4792" y="162144"/>
            <a:ext cx="1011148" cy="21882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C4C899F9-DB66-9CB8-721D-9B8645B5B0CC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461480" y="4245673"/>
            <a:ext cx="970423" cy="635277"/>
          </a:xfrm>
          <a:prstGeom prst="rect">
            <a:avLst/>
          </a:prstGeom>
        </p:spPr>
      </p:pic>
      <p:sp>
        <p:nvSpPr>
          <p:cNvPr id="36" name="Fußzeilenplatzhalter 35">
            <a:extLst>
              <a:ext uri="{FF2B5EF4-FFF2-40B4-BE49-F238E27FC236}">
                <a16:creationId xmlns:a16="http://schemas.microsoft.com/office/drawing/2014/main" id="{1A2456EB-CAB2-8C4D-F624-498D49F61B7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  <p:sp>
        <p:nvSpPr>
          <p:cNvPr id="37" name="Geschweifte Klammer links 36">
            <a:extLst>
              <a:ext uri="{FF2B5EF4-FFF2-40B4-BE49-F238E27FC236}">
                <a16:creationId xmlns:a16="http://schemas.microsoft.com/office/drawing/2014/main" id="{53B3A653-582D-D684-A79B-AA4528394CCB}"/>
              </a:ext>
            </a:extLst>
          </p:cNvPr>
          <p:cNvSpPr/>
          <p:nvPr/>
        </p:nvSpPr>
        <p:spPr>
          <a:xfrm>
            <a:off x="2010752" y="2620589"/>
            <a:ext cx="277586" cy="675714"/>
          </a:xfrm>
          <a:prstGeom prst="lef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A8364193-1AF6-D658-47B1-63441ED9D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626" y="2834341"/>
            <a:ext cx="1779958" cy="248210"/>
          </a:xfrm>
        </p:spPr>
        <p:txBody>
          <a:bodyPr/>
          <a:lstStyle/>
          <a:p>
            <a:r>
              <a:rPr lang="en-US" sz="1600" dirty="0"/>
              <a:t>LADS OPC UA Client   </a:t>
            </a:r>
            <a:br>
              <a:rPr lang="en-US" sz="1600" dirty="0"/>
            </a:br>
            <a:endParaRPr lang="en-US" sz="1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7688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7233">
        <p:fade/>
      </p:transition>
    </mc:Choice>
    <mc:Fallback xmlns="">
      <p:transition spd="med" advTm="47233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683568" y="981645"/>
            <a:ext cx="8001000" cy="571500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Pythonic LADS OPC UA Client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Known Issues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streamlit.io</a:t>
            </a:r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03504CD0-A3C5-7340-B418-767F1075AA00}"/>
              </a:ext>
            </a:extLst>
          </p:cNvPr>
          <p:cNvSpPr txBox="1"/>
          <p:nvPr/>
        </p:nvSpPr>
        <p:spPr>
          <a:xfrm>
            <a:off x="1223628" y="4548667"/>
            <a:ext cx="14976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Low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E7F53F94-614C-004A-AAAF-1E2D0985D026}"/>
              </a:ext>
            </a:extLst>
          </p:cNvPr>
          <p:cNvSpPr/>
          <p:nvPr/>
        </p:nvSpPr>
        <p:spPr>
          <a:xfrm>
            <a:off x="683568" y="2008409"/>
            <a:ext cx="396620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Unable to edit data in </a:t>
            </a:r>
            <a:r>
              <a:rPr lang="en-US" sz="1600" dirty="0" err="1"/>
              <a:t>st.dataeditor</a:t>
            </a:r>
            <a:r>
              <a:rPr lang="en-US" sz="1600" dirty="0"/>
              <a:t>() since “select-all is” activated (during typing) whenever some content of the web page is updated. </a:t>
            </a:r>
            <a:br>
              <a:rPr lang="en-US" sz="1600" dirty="0"/>
            </a:br>
            <a:r>
              <a:rPr lang="en-US" sz="1600" b="1" dirty="0"/>
              <a:t>Important: since the issue #7831 is in status “triage” please upvote it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st.map</a:t>
            </a:r>
            <a:r>
              <a:rPr lang="en-US" sz="1600" dirty="0"/>
              <a:t>() is not automatically updated (see #7294 &amp; #7307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.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74A2E8D-4ABD-48F7-C9E3-52713C40D15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A56B536-82C0-26E5-C8A0-B3318425A7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446954"/>
            <a:ext cx="3966210" cy="40195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37BA6F4A-171D-5FAC-A005-308E31CF34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0697" y="2488538"/>
            <a:ext cx="3402330" cy="23545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77BF054E-E823-FE90-DCF9-D564539A77D3}"/>
              </a:ext>
            </a:extLst>
          </p:cNvPr>
          <p:cNvSpPr/>
          <p:nvPr/>
        </p:nvSpPr>
        <p:spPr>
          <a:xfrm>
            <a:off x="5932170" y="3222643"/>
            <a:ext cx="839333" cy="52750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58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8333">
        <p:fade/>
      </p:transition>
    </mc:Choice>
    <mc:Fallback xmlns="">
      <p:transition spd="med" advTm="98333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683568" y="981645"/>
            <a:ext cx="8001000" cy="571500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Pythonic LADS OPC UA Client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Known Issues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lads_client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/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lads_viewer</a:t>
            </a:r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03504CD0-A3C5-7340-B418-767F1075AA00}"/>
              </a:ext>
            </a:extLst>
          </p:cNvPr>
          <p:cNvSpPr txBox="1"/>
          <p:nvPr/>
        </p:nvSpPr>
        <p:spPr>
          <a:xfrm>
            <a:off x="1223628" y="4548667"/>
            <a:ext cx="14976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Low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E7F53F94-614C-004A-AAAF-1E2D0985D026}"/>
              </a:ext>
            </a:extLst>
          </p:cNvPr>
          <p:cNvSpPr/>
          <p:nvPr/>
        </p:nvSpPr>
        <p:spPr>
          <a:xfrm>
            <a:off x="683568" y="2008409"/>
            <a:ext cx="75719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B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.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74A2E8D-4ABD-48F7-C9E3-52713C40D15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20284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98333">
        <p:fade/>
      </p:transition>
    </mc:Choice>
    <mc:Fallback>
      <p:transition spd="med" advTm="98333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fik 24">
            <a:extLst>
              <a:ext uri="{FF2B5EF4-FFF2-40B4-BE49-F238E27FC236}">
                <a16:creationId xmlns:a16="http://schemas.microsoft.com/office/drawing/2014/main" id="{A0EE955D-A1C7-DE3F-4B52-31D148E39CC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685124" y="430262"/>
            <a:ext cx="2490673" cy="15826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73ED8EA-1174-9499-D97A-1CD0DFB218E9}"/>
              </a:ext>
            </a:extLst>
          </p:cNvPr>
          <p:cNvGrpSpPr>
            <a:grpSpLocks noChangeAspect="1"/>
          </p:cNvGrpSpPr>
          <p:nvPr/>
        </p:nvGrpSpPr>
        <p:grpSpPr>
          <a:xfrm>
            <a:off x="843251" y="1207554"/>
            <a:ext cx="6980832" cy="3783043"/>
            <a:chOff x="-158338" y="49196"/>
            <a:chExt cx="9063931" cy="4911914"/>
          </a:xfrm>
        </p:grpSpPr>
        <p:pic>
          <p:nvPicPr>
            <p:cNvPr id="21" name="Bildplatzhalter 20">
              <a:extLst>
                <a:ext uri="{FF2B5EF4-FFF2-40B4-BE49-F238E27FC236}">
                  <a16:creationId xmlns:a16="http://schemas.microsoft.com/office/drawing/2014/main" id="{6636160D-8183-6386-95EA-8A36A5E3276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4622496" y="49196"/>
              <a:ext cx="1260000" cy="114841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5" name="Picture 2">
              <a:extLst>
                <a:ext uri="{FF2B5EF4-FFF2-40B4-BE49-F238E27FC236}">
                  <a16:creationId xmlns:a16="http://schemas.microsoft.com/office/drawing/2014/main" id="{244AE06A-BCFA-2598-C80D-A8051B66EE73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-158338" y="2774132"/>
              <a:ext cx="2186800" cy="19931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2" descr="Compact Microplate Reader | Absorbance 96">
              <a:extLst>
                <a:ext uri="{FF2B5EF4-FFF2-40B4-BE49-F238E27FC236}">
                  <a16:creationId xmlns:a16="http://schemas.microsoft.com/office/drawing/2014/main" id="{52D326AF-B647-528F-5BB6-6A37B082D8A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38088" y="3545994"/>
              <a:ext cx="1440000" cy="131247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>
              <a:extLst>
                <a:ext uri="{FF2B5EF4-FFF2-40B4-BE49-F238E27FC236}">
                  <a16:creationId xmlns:a16="http://schemas.microsoft.com/office/drawing/2014/main" id="{3FB9C36D-0EFE-BE9F-35FA-EAC935A3504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65581" y="3627611"/>
              <a:ext cx="1440000" cy="131247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Bildplatzhalter 17">
              <a:extLst>
                <a:ext uri="{FF2B5EF4-FFF2-40B4-BE49-F238E27FC236}">
                  <a16:creationId xmlns:a16="http://schemas.microsoft.com/office/drawing/2014/main" id="{59B24972-6025-EB13-43A6-FB49BDA698E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3053448" y="2182816"/>
              <a:ext cx="1440000" cy="131247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2" name="Picture 2">
              <a:extLst>
                <a:ext uri="{FF2B5EF4-FFF2-40B4-BE49-F238E27FC236}">
                  <a16:creationId xmlns:a16="http://schemas.microsoft.com/office/drawing/2014/main" id="{E94EEAD7-A1EC-D120-0343-E95C299C5AB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817" r="6817"/>
            <a:stretch/>
          </p:blipFill>
          <p:spPr bwMode="auto">
            <a:xfrm>
              <a:off x="1844483" y="3648638"/>
              <a:ext cx="1440000" cy="13124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4" descr="2mag MIX 4 MS">
              <a:extLst>
                <a:ext uri="{FF2B5EF4-FFF2-40B4-BE49-F238E27FC236}">
                  <a16:creationId xmlns:a16="http://schemas.microsoft.com/office/drawing/2014/main" id="{1BED3C46-F626-C0FA-1E03-3CB7FEB34A7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050195" y="1089448"/>
              <a:ext cx="1080000" cy="102391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Bildplatzhalter 16">
              <a:extLst>
                <a:ext uri="{FF2B5EF4-FFF2-40B4-BE49-F238E27FC236}">
                  <a16:creationId xmlns:a16="http://schemas.microsoft.com/office/drawing/2014/main" id="{4578A1EA-3212-0EE5-9900-8325AD1A68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807" r="-4534"/>
            <a:stretch/>
          </p:blipFill>
          <p:spPr>
            <a:xfrm>
              <a:off x="179853" y="1151194"/>
              <a:ext cx="944680" cy="1312472"/>
            </a:xfrm>
            <a:prstGeom prst="rect">
              <a:avLst/>
            </a:prstGeom>
          </p:spPr>
        </p:pic>
        <p:pic>
          <p:nvPicPr>
            <p:cNvPr id="15" name="Picture 6">
              <a:extLst>
                <a:ext uri="{FF2B5EF4-FFF2-40B4-BE49-F238E27FC236}">
                  <a16:creationId xmlns:a16="http://schemas.microsoft.com/office/drawing/2014/main" id="{A33C876D-FB53-D87A-06CE-8CC8C21AD10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3528" r="-24030"/>
            <a:stretch/>
          </p:blipFill>
          <p:spPr bwMode="auto">
            <a:xfrm>
              <a:off x="1156360" y="667819"/>
              <a:ext cx="1440000" cy="13124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8">
              <a:extLst>
                <a:ext uri="{FF2B5EF4-FFF2-40B4-BE49-F238E27FC236}">
                  <a16:creationId xmlns:a16="http://schemas.microsoft.com/office/drawing/2014/main" id="{AE95CEBE-DF6F-695E-846A-0ED82989905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4440" b="4440"/>
            <a:stretch>
              <a:fillRect/>
            </a:stretch>
          </p:blipFill>
          <p:spPr bwMode="auto">
            <a:xfrm>
              <a:off x="5842992" y="2091304"/>
              <a:ext cx="1440000" cy="13124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Bildplatzhalter 15">
              <a:extLst>
                <a:ext uri="{FF2B5EF4-FFF2-40B4-BE49-F238E27FC236}">
                  <a16:creationId xmlns:a16="http://schemas.microsoft.com/office/drawing/2014/main" id="{37BF5054-557D-24E5-6AC1-573C588C6C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324112" y="2155345"/>
              <a:ext cx="1440000" cy="131176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6" name="Bildplatzhalter 20">
              <a:extLst>
                <a:ext uri="{FF2B5EF4-FFF2-40B4-BE49-F238E27FC236}">
                  <a16:creationId xmlns:a16="http://schemas.microsoft.com/office/drawing/2014/main" id="{9DB0883E-3C15-F5B1-F0C3-027F9F6E9C7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878072" y="667819"/>
              <a:ext cx="1440000" cy="1312472"/>
            </a:xfrm>
            <a:prstGeom prst="rect">
              <a:avLst/>
            </a:prstGeom>
          </p:spPr>
        </p:pic>
        <p:pic>
          <p:nvPicPr>
            <p:cNvPr id="8" name="Picture 2" descr="FlowCountPRO Front">
              <a:extLst>
                <a:ext uri="{FF2B5EF4-FFF2-40B4-BE49-F238E27FC236}">
                  <a16:creationId xmlns:a16="http://schemas.microsoft.com/office/drawing/2014/main" id="{78C5315D-B9FC-1EC4-9A3E-9F213F657A5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4440" b="4440"/>
            <a:stretch/>
          </p:blipFill>
          <p:spPr bwMode="auto">
            <a:xfrm>
              <a:off x="4318072" y="1206017"/>
              <a:ext cx="1440000" cy="13124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" descr="Scilia3">
              <a:extLst>
                <a:ext uri="{FF2B5EF4-FFF2-40B4-BE49-F238E27FC236}">
                  <a16:creationId xmlns:a16="http://schemas.microsoft.com/office/drawing/2014/main" id="{0F2EA6C3-0AD5-9EE7-4402-51C6E233A4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8368" y="2099712"/>
              <a:ext cx="1440000" cy="13124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4">
              <a:extLst>
                <a:ext uri="{FF2B5EF4-FFF2-40B4-BE49-F238E27FC236}">
                  <a16:creationId xmlns:a16="http://schemas.microsoft.com/office/drawing/2014/main" id="{1D509096-7564-5CB3-8FF6-B376D603D0D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2627" y="3377250"/>
              <a:ext cx="1440000" cy="131247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2" descr="Bridge Mounted Circulator MAGIO MS-Z from JULABO view 1">
              <a:extLst>
                <a:ext uri="{FF2B5EF4-FFF2-40B4-BE49-F238E27FC236}">
                  <a16:creationId xmlns:a16="http://schemas.microsoft.com/office/drawing/2014/main" id="{5E6A3AE5-520E-D9B9-3B0A-8F586B9D780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9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618088" y="2315194"/>
              <a:ext cx="1080000" cy="9843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2" descr="refrigerated large compact centrifuge">
              <a:extLst>
                <a:ext uri="{FF2B5EF4-FFF2-40B4-BE49-F238E27FC236}">
                  <a16:creationId xmlns:a16="http://schemas.microsoft.com/office/drawing/2014/main" id="{2A9E7772-7058-24EF-A033-403660A2B1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5593" y="859599"/>
              <a:ext cx="1440000" cy="13124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C8FFCD32-1C16-7320-1525-82F94AAA8C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379408" y="67394"/>
              <a:ext cx="1260000" cy="824845"/>
            </a:xfrm>
            <a:prstGeom prst="rect">
              <a:avLst/>
            </a:prstGeom>
          </p:spPr>
        </p:pic>
      </p:grpSp>
      <p:sp>
        <p:nvSpPr>
          <p:cNvPr id="23" name="Titel 2">
            <a:extLst>
              <a:ext uri="{FF2B5EF4-FFF2-40B4-BE49-F238E27FC236}">
                <a16:creationId xmlns:a16="http://schemas.microsoft.com/office/drawing/2014/main" id="{78CDA95C-22DC-05BE-A403-3EF37A3BC6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188" y="784710"/>
            <a:ext cx="8534920" cy="514048"/>
          </a:xfrm>
        </p:spPr>
        <p:txBody>
          <a:bodyPr/>
          <a:lstStyle/>
          <a:p>
            <a:r>
              <a:rPr lang="en-US" dirty="0"/>
              <a:t>LADS - Let's make Plug &amp; Play Interoperability a Reality!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70C6281-B7C0-D4E4-0510-71B57A198245}"/>
              </a:ext>
            </a:extLst>
          </p:cNvPr>
          <p:cNvSpPr txBox="1"/>
          <p:nvPr/>
        </p:nvSpPr>
        <p:spPr>
          <a:xfrm rot="16200000">
            <a:off x="6941308" y="2743209"/>
            <a:ext cx="37574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None/>
              <a:tabLst/>
            </a:pPr>
            <a:r>
              <a:rPr lang="en-US" sz="800" b="0" i="0" kern="1200" dirty="0">
                <a:solidFill>
                  <a:schemeClr val="bg1">
                    <a:lumMod val="6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rPr>
              <a:t>All images trademarks, logos and brand names are the property of their respective owners.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F3CC38AB-726B-3AD7-496B-8D93296DF303}"/>
              </a:ext>
            </a:extLst>
          </p:cNvPr>
          <p:cNvPicPr>
            <a:picLocks noChangeAspect="1"/>
          </p:cNvPicPr>
          <p:nvPr/>
        </p:nvPicPr>
        <p:blipFill>
          <a:blip r:embed="rId22"/>
          <a:srcRect/>
          <a:stretch/>
        </p:blipFill>
        <p:spPr>
          <a:xfrm>
            <a:off x="843251" y="1297190"/>
            <a:ext cx="778036" cy="6352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6" name="Fußzeilenplatzhalter 25">
            <a:extLst>
              <a:ext uri="{FF2B5EF4-FFF2-40B4-BE49-F238E27FC236}">
                <a16:creationId xmlns:a16="http://schemas.microsoft.com/office/drawing/2014/main" id="{3C0061EB-CE96-2007-A7D1-FF212B31C9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9133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113528">
        <p:fade/>
      </p:transition>
    </mc:Choice>
    <mc:Fallback>
      <p:transition spd="med" advTm="113528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D4292FD7-3DC3-3234-B85E-F74BF13921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188" y="794227"/>
            <a:ext cx="8534920" cy="514048"/>
          </a:xfrm>
        </p:spPr>
        <p:txBody>
          <a:bodyPr/>
          <a:lstStyle/>
          <a:p>
            <a:r>
              <a:rPr lang="en-US" dirty="0"/>
              <a:t>OPC UA – The Industrial Interoperability Standard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D0D383CF-D584-067F-8306-D4DE221D0205}"/>
              </a:ext>
            </a:extLst>
          </p:cNvPr>
          <p:cNvSpPr txBox="1"/>
          <p:nvPr/>
        </p:nvSpPr>
        <p:spPr>
          <a:xfrm>
            <a:off x="611188" y="1838325"/>
            <a:ext cx="1136822" cy="1080000"/>
          </a:xfrm>
          <a:prstGeom prst="rect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Building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Automation &amp;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Control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90BF132-51C6-13CD-97A5-B201B6E30C3E}"/>
              </a:ext>
            </a:extLst>
          </p:cNvPr>
          <p:cNvSpPr txBox="1"/>
          <p:nvPr/>
        </p:nvSpPr>
        <p:spPr>
          <a:xfrm>
            <a:off x="1954322" y="1838327"/>
            <a:ext cx="1136822" cy="1080000"/>
          </a:xfrm>
          <a:prstGeom prst="rect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obotics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&amp;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Indoor Positioning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1BB5281-221D-4D51-5A6A-98060FB5388C}"/>
              </a:ext>
            </a:extLst>
          </p:cNvPr>
          <p:cNvSpPr txBox="1"/>
          <p:nvPr/>
        </p:nvSpPr>
        <p:spPr>
          <a:xfrm>
            <a:off x="3297456" y="1838328"/>
            <a:ext cx="1136822" cy="1080000"/>
          </a:xfrm>
          <a:prstGeom prst="rect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Laboratory &amp;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Analytical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Devi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B3161FD-DC37-2375-C970-51F1CAAE562D}"/>
              </a:ext>
            </a:extLst>
          </p:cNvPr>
          <p:cNvSpPr txBox="1"/>
          <p:nvPr/>
        </p:nvSpPr>
        <p:spPr>
          <a:xfrm>
            <a:off x="5983724" y="1838325"/>
            <a:ext cx="1136822" cy="1080000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rom Laboratory to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loud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2757213-9267-2011-D012-92BEB59104B9}"/>
              </a:ext>
            </a:extLst>
          </p:cNvPr>
          <p:cNvSpPr txBox="1"/>
          <p:nvPr/>
        </p:nvSpPr>
        <p:spPr>
          <a:xfrm>
            <a:off x="7326860" y="1838325"/>
            <a:ext cx="1197782" cy="1080000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teroperable with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FAIR data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80C2E4E-A4FF-54B4-F0EB-D2AA18D0E9AF}"/>
              </a:ext>
            </a:extLst>
          </p:cNvPr>
          <p:cNvSpPr txBox="1"/>
          <p:nvPr/>
        </p:nvSpPr>
        <p:spPr>
          <a:xfrm>
            <a:off x="4640590" y="1838325"/>
            <a:ext cx="1136822" cy="1080000"/>
          </a:xfrm>
          <a:prstGeom prst="rect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sset Mgt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…</a:t>
            </a:r>
          </a:p>
        </p:txBody>
      </p:sp>
      <p:pic>
        <p:nvPicPr>
          <p:cNvPr id="1026" name="Picture 2" descr="OPC for Cloud LinkedIn 1280x720 2022 1">
            <a:extLst>
              <a:ext uri="{FF2B5EF4-FFF2-40B4-BE49-F238E27FC236}">
                <a16:creationId xmlns:a16="http://schemas.microsoft.com/office/drawing/2014/main" id="{CACEDC3B-DF7C-60F5-6EDC-21953D7A2C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83" b="13708"/>
          <a:stretch/>
        </p:blipFill>
        <p:spPr bwMode="auto">
          <a:xfrm>
            <a:off x="2404624" y="3121933"/>
            <a:ext cx="4334750" cy="2021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C4BFD148-A16E-EC32-F5CB-C21589820B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188" y="3025226"/>
            <a:ext cx="1144510" cy="16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2E6CEED3-D800-E692-C30A-AA6C96AD02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46155" y="3023137"/>
            <a:ext cx="1139003" cy="16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311FD1E-9928-6936-AE30-AD27E138FA53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3281123" y="3013366"/>
            <a:ext cx="1142370" cy="16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5E16C91-2271-6FBB-3387-4EAC658472FE}"/>
              </a:ext>
            </a:extLst>
          </p:cNvPr>
          <p:cNvGrpSpPr>
            <a:grpSpLocks noChangeAspect="1"/>
          </p:cNvGrpSpPr>
          <p:nvPr/>
        </p:nvGrpSpPr>
        <p:grpSpPr>
          <a:xfrm>
            <a:off x="7305715" y="3013366"/>
            <a:ext cx="1798980" cy="1620000"/>
            <a:chOff x="7313883" y="3095797"/>
            <a:chExt cx="1839843" cy="1656797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7CA7E61A-C321-8999-D944-476DE502252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313883" y="3463836"/>
              <a:ext cx="1839843" cy="128875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9EA85871-F605-6642-DCA9-04C129C854C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322141" y="3095797"/>
              <a:ext cx="1831585" cy="33934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pic>
        <p:nvPicPr>
          <p:cNvPr id="19" name="Grafik 18">
            <a:extLst>
              <a:ext uri="{FF2B5EF4-FFF2-40B4-BE49-F238E27FC236}">
                <a16:creationId xmlns:a16="http://schemas.microsoft.com/office/drawing/2014/main" id="{F40912FA-698B-1E4D-EA4E-D2352599FF4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75455" y="3013366"/>
            <a:ext cx="1135922" cy="16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D5643BA1-EC6E-F5DB-6DD9-024096327F10}"/>
              </a:ext>
            </a:extLst>
          </p:cNvPr>
          <p:cNvSpPr txBox="1"/>
          <p:nvPr/>
        </p:nvSpPr>
        <p:spPr>
          <a:xfrm rot="16200000">
            <a:off x="-427906" y="3645187"/>
            <a:ext cx="14670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Cross-Domain</a:t>
            </a:r>
            <a:br>
              <a:rPr lang="en-US" sz="1000" dirty="0">
                <a:solidFill>
                  <a:srgbClr val="000000"/>
                </a:solidFill>
              </a:rPr>
            </a:br>
            <a:r>
              <a:rPr lang="en-US" sz="1000" dirty="0">
                <a:solidFill>
                  <a:srgbClr val="000000"/>
                </a:solidFill>
              </a:rPr>
              <a:t>Semantics &amp; Syntax, ..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7113730-00F0-7864-86F3-FF99094D92E6}"/>
              </a:ext>
            </a:extLst>
          </p:cNvPr>
          <p:cNvSpPr txBox="1"/>
          <p:nvPr/>
        </p:nvSpPr>
        <p:spPr>
          <a:xfrm rot="16200000">
            <a:off x="-482408" y="2178270"/>
            <a:ext cx="157607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Domain-Specific </a:t>
            </a:r>
            <a:br>
              <a:rPr lang="en-US" sz="1000" dirty="0">
                <a:solidFill>
                  <a:srgbClr val="000000"/>
                </a:solidFill>
              </a:rPr>
            </a:br>
            <a:r>
              <a:rPr lang="en-US" sz="1000" dirty="0">
                <a:solidFill>
                  <a:srgbClr val="000000"/>
                </a:solidFill>
              </a:rPr>
              <a:t>Semantics &amp; Pragmatics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15C2D0C8-0357-CC41-98D8-E84B6B0C7A4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638416" y="3013366"/>
            <a:ext cx="1142701" cy="16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EAF67220-3D95-98A8-D3C6-3688BD2162D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475C714-54AC-0D03-91F6-DA81864E3E8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710218" y="186265"/>
            <a:ext cx="1784125" cy="6477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75304201"/>
      </p:ext>
    </p:extLst>
  </p:cSld>
  <p:clrMapOvr>
    <a:masterClrMapping/>
  </p:clrMapOvr>
  <p:transition advTm="72757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4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D4292FD7-3DC3-3234-B85E-F74BF1392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Thank You!</a:t>
            </a:r>
          </a:p>
        </p:txBody>
      </p:sp>
      <p:pic>
        <p:nvPicPr>
          <p:cNvPr id="8" name="Picture 2" descr="logo">
            <a:extLst>
              <a:ext uri="{FF2B5EF4-FFF2-40B4-BE49-F238E27FC236}">
                <a16:creationId xmlns:a16="http://schemas.microsoft.com/office/drawing/2014/main" id="{53F7748B-E5DA-AA20-50B8-52FD1CE33B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23897" y="1041306"/>
            <a:ext cx="1577630" cy="576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7031B80-5248-B433-BE85-42DD2802FF3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3897" y="1761385"/>
            <a:ext cx="1233357" cy="81036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A7F924E-5D36-1CC2-1CBE-A894BE9F0167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023898" y="2699987"/>
            <a:ext cx="1577630" cy="22214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66EE2DBF-0F96-7C8A-894D-833F7F40C2B7}"/>
              </a:ext>
            </a:extLst>
          </p:cNvPr>
          <p:cNvSpPr txBox="1"/>
          <p:nvPr/>
        </p:nvSpPr>
        <p:spPr>
          <a:xfrm>
            <a:off x="611188" y="1935548"/>
            <a:ext cx="7447588" cy="27930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7"/>
              </a:rPr>
              <a:t>https://opcfoundation.org/markets-collaboration/lads/</a:t>
            </a:r>
          </a:p>
          <a:p>
            <a:endParaRPr lang="en-US" dirty="0">
              <a:hlinkClick r:id="rId7"/>
            </a:endParaRPr>
          </a:p>
          <a:p>
            <a:r>
              <a:rPr lang="en-US" dirty="0">
                <a:hlinkClick r:id="rId7"/>
              </a:rPr>
              <a:t>https://www.spectaris.de/en/association/thespectarisindustries/networked-laboratory-equipment/</a:t>
            </a:r>
          </a:p>
          <a:p>
            <a:endParaRPr lang="en-US" dirty="0">
              <a:hlinkClick r:id="rId7"/>
            </a:endParaRPr>
          </a:p>
          <a:p>
            <a:r>
              <a:rPr lang="en-US" dirty="0">
                <a:hlinkClick r:id="rId7"/>
              </a:rPr>
              <a:t>https://www.linkedin.com/company/LADS-OPC-UA/</a:t>
            </a:r>
            <a:endParaRPr lang="en-US" dirty="0"/>
          </a:p>
          <a:p>
            <a:endParaRPr lang="en-US" dirty="0"/>
          </a:p>
          <a:p>
            <a:r>
              <a:rPr lang="en-US" dirty="0">
                <a:hlinkClick r:id="rId8"/>
              </a:rPr>
              <a:t>https://www.linkedin.com/Dr-Matthias-Arnold/</a:t>
            </a:r>
            <a:endParaRPr lang="en-US" dirty="0"/>
          </a:p>
          <a:p>
            <a:endParaRPr lang="en-US" dirty="0"/>
          </a:p>
          <a:p>
            <a:r>
              <a:rPr lang="en-US" dirty="0">
                <a:hlinkClick r:id="rId9"/>
              </a:rPr>
              <a:t>https://opcfoundation-events.com/2023/05/12/opc-day-international-2023/#arnold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otrope Connect Keynote: </a:t>
            </a:r>
            <a:r>
              <a:rPr lang="en-US" dirty="0">
                <a:hlinkClick r:id="rId10"/>
              </a:rPr>
              <a:t>https://www.youtube.com/watch?v=l7jXcO0QH7Y</a:t>
            </a:r>
            <a:endParaRPr lang="en-US" dirty="0"/>
          </a:p>
          <a:p>
            <a:endParaRPr lang="en-US" dirty="0"/>
          </a:p>
          <a:p>
            <a:r>
              <a:rPr lang="en-US" dirty="0" err="1"/>
              <a:t>M.Arnold@AixEngineers.de</a:t>
            </a:r>
            <a:endParaRPr lang="en-US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5AC37215-AE2B-FC19-37A2-14075D69A58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76256" y="186265"/>
            <a:ext cx="2118088" cy="768988"/>
          </a:xfrm>
          <a:prstGeom prst="rect">
            <a:avLst/>
          </a:prstGeo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0672EA-A2F2-6E02-E9C0-2A7D6C1AD21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61152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017"/>
    </mc:Choice>
    <mc:Fallback xmlns="">
      <p:transition spd="slow" advTm="18017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D745533D-7C69-830F-DF06-F1C926FE36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4564" y="1270000"/>
            <a:ext cx="5834872" cy="3538271"/>
          </a:xfrm>
          <a:prstGeom prst="rect">
            <a:avLst/>
          </a:prstGeom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CE741E02-E62E-92D0-80CE-C719665BEC4C}"/>
              </a:ext>
            </a:extLst>
          </p:cNvPr>
          <p:cNvSpPr txBox="1">
            <a:spLocks/>
          </p:cNvSpPr>
          <p:nvPr/>
        </p:nvSpPr>
        <p:spPr>
          <a:xfrm>
            <a:off x="627832" y="827157"/>
            <a:ext cx="8001000" cy="74337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68578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Arial Narrow" panose="020B0604020202020204" pitchFamily="34" charset="0"/>
                <a:ea typeface="+mj-ea"/>
                <a:cs typeface="Arial Narrow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0070C0"/>
                </a:solidFill>
              </a:rPr>
              <a:t>Responsive Design - Thanks to </a:t>
            </a:r>
            <a:r>
              <a:rPr lang="en-US" dirty="0" err="1">
                <a:solidFill>
                  <a:srgbClr val="0070C0"/>
                </a:solidFill>
              </a:rPr>
              <a:t>streamlit.io</a:t>
            </a:r>
            <a:r>
              <a:rPr lang="en-US" dirty="0">
                <a:solidFill>
                  <a:srgbClr val="0070C0"/>
                </a:solidFill>
              </a:rPr>
              <a:t> .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86B4ACE-5B98-ABC0-192C-DE1C64DF43C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4194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7233">
        <p:fade/>
      </p:transition>
    </mc:Choice>
    <mc:Fallback xmlns="">
      <p:transition spd="med" advTm="47233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B6F8FC49-C712-840B-CA01-58BD698706ED}"/>
              </a:ext>
            </a:extLst>
          </p:cNvPr>
          <p:cNvSpPr txBox="1"/>
          <p:nvPr/>
        </p:nvSpPr>
        <p:spPr>
          <a:xfrm>
            <a:off x="116587" y="1480904"/>
            <a:ext cx="2398263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13" b="1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FDDB6B0F-7AD6-BBFA-BBB8-B8860C607E31}"/>
              </a:ext>
            </a:extLst>
          </p:cNvPr>
          <p:cNvGrpSpPr/>
          <p:nvPr/>
        </p:nvGrpSpPr>
        <p:grpSpPr>
          <a:xfrm>
            <a:off x="758460" y="1605008"/>
            <a:ext cx="7772400" cy="2359478"/>
            <a:chOff x="685800" y="1392011"/>
            <a:chExt cx="7772400" cy="2359478"/>
          </a:xfrm>
        </p:grpSpPr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24FAC99E-33C5-E7ED-BE71-F5928D8C5A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5800" y="1392011"/>
              <a:ext cx="7772400" cy="235947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5" name="Abgerundetes Rechteck 14">
              <a:extLst>
                <a:ext uri="{FF2B5EF4-FFF2-40B4-BE49-F238E27FC236}">
                  <a16:creationId xmlns:a16="http://schemas.microsoft.com/office/drawing/2014/main" id="{DC9D1196-0124-3C7D-8493-2D75CDA12F33}"/>
                </a:ext>
              </a:extLst>
            </p:cNvPr>
            <p:cNvSpPr/>
            <p:nvPr/>
          </p:nvSpPr>
          <p:spPr>
            <a:xfrm>
              <a:off x="3503297" y="2358753"/>
              <a:ext cx="4891060" cy="1392736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chemeClr val="tx1"/>
                </a:solidFill>
              </a:endParaRPr>
            </a:p>
          </p:txBody>
        </p:sp>
        <p:sp>
          <p:nvSpPr>
            <p:cNvPr id="19" name="Abgerundetes Rechteck 18">
              <a:extLst>
                <a:ext uri="{FF2B5EF4-FFF2-40B4-BE49-F238E27FC236}">
                  <a16:creationId xmlns:a16="http://schemas.microsoft.com/office/drawing/2014/main" id="{214FBF5A-5910-0833-44FD-6ABF3E53BDA3}"/>
                </a:ext>
              </a:extLst>
            </p:cNvPr>
            <p:cNvSpPr/>
            <p:nvPr/>
          </p:nvSpPr>
          <p:spPr>
            <a:xfrm>
              <a:off x="3582655" y="3325887"/>
              <a:ext cx="664603" cy="339952"/>
            </a:xfrm>
            <a:prstGeom prst="roundRect">
              <a:avLst>
                <a:gd name="adj" fmla="val 26697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4" name="Abgerundetes Rechteck 23">
              <a:extLst>
                <a:ext uri="{FF2B5EF4-FFF2-40B4-BE49-F238E27FC236}">
                  <a16:creationId xmlns:a16="http://schemas.microsoft.com/office/drawing/2014/main" id="{91517A0E-C687-FA87-2109-E85237B70374}"/>
                </a:ext>
              </a:extLst>
            </p:cNvPr>
            <p:cNvSpPr/>
            <p:nvPr/>
          </p:nvSpPr>
          <p:spPr>
            <a:xfrm>
              <a:off x="5387545" y="3325885"/>
              <a:ext cx="1013255" cy="339953"/>
            </a:xfrm>
            <a:prstGeom prst="roundRect">
              <a:avLst>
                <a:gd name="adj" fmla="val 20890"/>
              </a:avLst>
            </a:prstGeom>
            <a:noFill/>
            <a:ln w="1905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rgbClr val="0070C0"/>
                </a:solidFill>
              </a:endParaRPr>
            </a:p>
          </p:txBody>
        </p:sp>
        <p:sp>
          <p:nvSpPr>
            <p:cNvPr id="25" name="Abgerundetes Rechteck 24">
              <a:extLst>
                <a:ext uri="{FF2B5EF4-FFF2-40B4-BE49-F238E27FC236}">
                  <a16:creationId xmlns:a16="http://schemas.microsoft.com/office/drawing/2014/main" id="{8828F7EE-9BB3-4AE1-2AB4-24B6FA2635E0}"/>
                </a:ext>
              </a:extLst>
            </p:cNvPr>
            <p:cNvSpPr/>
            <p:nvPr/>
          </p:nvSpPr>
          <p:spPr>
            <a:xfrm>
              <a:off x="4262702" y="3325885"/>
              <a:ext cx="1124843" cy="339953"/>
            </a:xfrm>
            <a:prstGeom prst="roundRect">
              <a:avLst>
                <a:gd name="adj" fmla="val 20890"/>
              </a:avLst>
            </a:prstGeom>
            <a:noFill/>
            <a:ln w="1905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rgbClr val="0070C0"/>
                </a:solidFill>
              </a:endParaRPr>
            </a:p>
          </p:txBody>
        </p:sp>
      </p:grpSp>
      <p:sp>
        <p:nvSpPr>
          <p:cNvPr id="27" name="Titel 1">
            <a:extLst>
              <a:ext uri="{FF2B5EF4-FFF2-40B4-BE49-F238E27FC236}">
                <a16:creationId xmlns:a16="http://schemas.microsoft.com/office/drawing/2014/main" id="{E8FFA559-DD51-6DB9-9618-74F101A1F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832" y="827157"/>
            <a:ext cx="8001000" cy="743371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Use-Case Centric UI Design</a:t>
            </a:r>
            <a:br>
              <a:rPr lang="en-US" dirty="0">
                <a:solidFill>
                  <a:srgbClr val="0070C0"/>
                </a:solidFill>
              </a:rPr>
            </a:b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28" name="Fußzeilenplatzhalter 27">
            <a:extLst>
              <a:ext uri="{FF2B5EF4-FFF2-40B4-BE49-F238E27FC236}">
                <a16:creationId xmlns:a16="http://schemas.microsoft.com/office/drawing/2014/main" id="{80EFAC99-C2AA-19D1-FB28-E2E2397193A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403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7233">
        <p:fade/>
      </p:transition>
    </mc:Choice>
    <mc:Fallback xmlns="">
      <p:transition spd="med" advTm="47233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627504" y="1017279"/>
            <a:ext cx="7912800" cy="694175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LADS Use Cases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0C99377C-26DC-4822-8E13-082F053164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DE" dirty="0"/>
          </a:p>
          <a:p>
            <a:pPr marL="214313" indent="-214313">
              <a:buFont typeface="Arial" panose="020B0604020202020204" pitchFamily="34" charset="0"/>
              <a:buChar char="•"/>
            </a:pPr>
            <a:endParaRPr lang="de-DE" dirty="0"/>
          </a:p>
          <a:p>
            <a:pPr marL="214313" indent="-214313">
              <a:buFont typeface="Arial" panose="020B0604020202020204" pitchFamily="34" charset="0"/>
              <a:buChar char="•"/>
            </a:pPr>
            <a:endParaRPr lang="de-DE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11EDA454-8428-9D41-9F67-8EF6A814B00E}"/>
              </a:ext>
            </a:extLst>
          </p:cNvPr>
          <p:cNvGrpSpPr/>
          <p:nvPr/>
        </p:nvGrpSpPr>
        <p:grpSpPr>
          <a:xfrm>
            <a:off x="685800" y="1873555"/>
            <a:ext cx="4318248" cy="270000"/>
            <a:chOff x="914400" y="2498073"/>
            <a:chExt cx="5757664" cy="360000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A946712E-078E-4AA0-84FE-8F3E0755D22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4400" y="2498073"/>
              <a:ext cx="360000" cy="360000"/>
            </a:xfrm>
            <a:prstGeom prst="rect">
              <a:avLst/>
            </a:prstGeom>
          </p:spPr>
        </p:pic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EAC03281-FC41-4C9D-B334-AEE7948A5816}"/>
                </a:ext>
              </a:extLst>
            </p:cNvPr>
            <p:cNvSpPr txBox="1"/>
            <p:nvPr/>
          </p:nvSpPr>
          <p:spPr>
            <a:xfrm>
              <a:off x="1487488" y="2498073"/>
              <a:ext cx="5184576" cy="330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13" b="1">
                  <a:latin typeface="Arial" panose="020B0604020202020204" pitchFamily="34" charset="0"/>
                  <a:cs typeface="Arial" panose="020B0604020202020204" pitchFamily="34" charset="0"/>
                </a:rPr>
                <a:t>Remote Monitoring, Alarms &amp; Notifications</a:t>
              </a: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C10D82AE-7303-0B4D-A423-B079C4D0B127}"/>
              </a:ext>
            </a:extLst>
          </p:cNvPr>
          <p:cNvGrpSpPr/>
          <p:nvPr/>
        </p:nvGrpSpPr>
        <p:grpSpPr>
          <a:xfrm>
            <a:off x="683251" y="2287279"/>
            <a:ext cx="4104773" cy="270000"/>
            <a:chOff x="911002" y="3049705"/>
            <a:chExt cx="5473030" cy="360000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1CD5FE47-1BE3-4973-9041-CFA57C3AEA3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1002" y="3049705"/>
              <a:ext cx="360000" cy="360000"/>
            </a:xfrm>
            <a:prstGeom prst="rect">
              <a:avLst/>
            </a:prstGeom>
          </p:spPr>
        </p:pic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765A81BA-CDFF-4233-BBCD-AA8C72B37EE0}"/>
                </a:ext>
              </a:extLst>
            </p:cNvPr>
            <p:cNvSpPr txBox="1"/>
            <p:nvPr/>
          </p:nvSpPr>
          <p:spPr>
            <a:xfrm>
              <a:off x="1487489" y="3049705"/>
              <a:ext cx="4896543" cy="330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13" b="1">
                  <a:latin typeface="Arial" panose="020B0604020202020204" pitchFamily="34" charset="0"/>
                  <a:cs typeface="Arial" panose="020B0604020202020204" pitchFamily="34" charset="0"/>
                </a:rPr>
                <a:t>Remote Control</a:t>
              </a:r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6EDA1E84-E786-B14F-87B4-26D19C413EE3}"/>
              </a:ext>
            </a:extLst>
          </p:cNvPr>
          <p:cNvGrpSpPr/>
          <p:nvPr/>
        </p:nvGrpSpPr>
        <p:grpSpPr>
          <a:xfrm>
            <a:off x="687252" y="2672824"/>
            <a:ext cx="3992761" cy="276999"/>
            <a:chOff x="916335" y="3563765"/>
            <a:chExt cx="5323681" cy="369332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65B12654-43CC-48E6-9980-A76691540CC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6335" y="3573097"/>
              <a:ext cx="360000" cy="360000"/>
            </a:xfrm>
            <a:prstGeom prst="rect">
              <a:avLst/>
            </a:prstGeom>
          </p:spPr>
        </p:pic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E9D432B1-2ED2-4683-A487-D913E44A99D5}"/>
                </a:ext>
              </a:extLst>
            </p:cNvPr>
            <p:cNvSpPr txBox="1"/>
            <p:nvPr/>
          </p:nvSpPr>
          <p:spPr>
            <a:xfrm>
              <a:off x="1487488" y="3563765"/>
              <a:ext cx="4752528" cy="330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13" b="1">
                  <a:latin typeface="Arial" panose="020B0604020202020204" pitchFamily="34" charset="0"/>
                  <a:cs typeface="Arial" panose="020B0604020202020204" pitchFamily="34" charset="0"/>
                </a:rPr>
                <a:t>Program Management &amp; Orchestration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54E3B61-E747-6F49-8F1A-EB5A3A9CB45B}"/>
              </a:ext>
            </a:extLst>
          </p:cNvPr>
          <p:cNvGrpSpPr/>
          <p:nvPr/>
        </p:nvGrpSpPr>
        <p:grpSpPr>
          <a:xfrm>
            <a:off x="709278" y="3068485"/>
            <a:ext cx="3962437" cy="270000"/>
            <a:chOff x="945704" y="4091313"/>
            <a:chExt cx="5283249" cy="360000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BE7080E7-E923-4153-8F7A-1A41C9E97C9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5704" y="4091313"/>
              <a:ext cx="360000" cy="360000"/>
            </a:xfrm>
            <a:prstGeom prst="rect">
              <a:avLst/>
            </a:prstGeom>
          </p:spPr>
        </p:pic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7CB51DAD-B96C-4DB7-B01D-2565FF9A9CE7}"/>
                </a:ext>
              </a:extLst>
            </p:cNvPr>
            <p:cNvSpPr txBox="1"/>
            <p:nvPr/>
          </p:nvSpPr>
          <p:spPr>
            <a:xfrm>
              <a:off x="1476425" y="4105560"/>
              <a:ext cx="4752528" cy="330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13" b="1">
                  <a:latin typeface="Arial" panose="020B0604020202020204" pitchFamily="34" charset="0"/>
                  <a:cs typeface="Arial" panose="020B0604020202020204" pitchFamily="34" charset="0"/>
                </a:rPr>
                <a:t>Results Management</a:t>
              </a: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CF03C19-5CC3-CE46-BAE0-867CF8434924}"/>
              </a:ext>
            </a:extLst>
          </p:cNvPr>
          <p:cNvGrpSpPr/>
          <p:nvPr/>
        </p:nvGrpSpPr>
        <p:grpSpPr>
          <a:xfrm>
            <a:off x="700683" y="3478916"/>
            <a:ext cx="4087341" cy="277175"/>
            <a:chOff x="934244" y="4638554"/>
            <a:chExt cx="5449788" cy="369567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295CD5A3-8688-48E4-A16E-B880BA18F34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34244" y="4648121"/>
              <a:ext cx="360000" cy="360000"/>
            </a:xfrm>
            <a:prstGeom prst="rect">
              <a:avLst/>
            </a:prstGeom>
          </p:spPr>
        </p:pic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FB7CE750-4225-4455-9CE8-756F097655B5}"/>
                </a:ext>
              </a:extLst>
            </p:cNvPr>
            <p:cNvSpPr txBox="1"/>
            <p:nvPr/>
          </p:nvSpPr>
          <p:spPr>
            <a:xfrm>
              <a:off x="1476425" y="4638554"/>
              <a:ext cx="4907607" cy="3309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13" b="1">
                  <a:latin typeface="Arial" panose="020B0604020202020204" pitchFamily="34" charset="0"/>
                  <a:cs typeface="Arial" panose="020B0604020202020204" pitchFamily="34" charset="0"/>
                </a:rPr>
                <a:t>Condition Monitoring &amp; Maintenance</a:t>
              </a: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12F7F10-D3F0-D048-AE5C-9AD9593D07AB}"/>
              </a:ext>
            </a:extLst>
          </p:cNvPr>
          <p:cNvGrpSpPr/>
          <p:nvPr/>
        </p:nvGrpSpPr>
        <p:grpSpPr>
          <a:xfrm>
            <a:off x="693595" y="3896698"/>
            <a:ext cx="4310453" cy="276999"/>
            <a:chOff x="924794" y="5195597"/>
            <a:chExt cx="5747270" cy="369332"/>
          </a:xfrm>
        </p:grpSpPr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AA02E974-CFC5-4F66-908D-E344808413E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4794" y="5204929"/>
              <a:ext cx="360000" cy="360000"/>
            </a:xfrm>
            <a:prstGeom prst="rect">
              <a:avLst/>
            </a:prstGeom>
          </p:spPr>
        </p:pic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894DFDC4-C08A-4225-8B68-C5C7C22300D8}"/>
                </a:ext>
              </a:extLst>
            </p:cNvPr>
            <p:cNvSpPr txBox="1"/>
            <p:nvPr/>
          </p:nvSpPr>
          <p:spPr>
            <a:xfrm>
              <a:off x="1470349" y="5195597"/>
              <a:ext cx="5201715" cy="330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13" b="1">
                  <a:latin typeface="Arial" panose="020B0604020202020204" pitchFamily="34" charset="0"/>
                  <a:cs typeface="Arial" panose="020B0604020202020204" pitchFamily="34" charset="0"/>
                </a:rPr>
                <a:t>Device &amp; Fleet Management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8FB05EE5-D254-FB47-B7B0-AE8D7FF52CD5}"/>
              </a:ext>
            </a:extLst>
          </p:cNvPr>
          <p:cNvGrpSpPr/>
          <p:nvPr/>
        </p:nvGrpSpPr>
        <p:grpSpPr>
          <a:xfrm>
            <a:off x="669189" y="1825316"/>
            <a:ext cx="4118835" cy="2353327"/>
            <a:chOff x="892252" y="2433754"/>
            <a:chExt cx="5491780" cy="3137769"/>
          </a:xfrm>
        </p:grpSpPr>
        <p:sp>
          <p:nvSpPr>
            <p:cNvPr id="27" name="Abgerundetes Rechteck 26">
              <a:extLst>
                <a:ext uri="{FF2B5EF4-FFF2-40B4-BE49-F238E27FC236}">
                  <a16:creationId xmlns:a16="http://schemas.microsoft.com/office/drawing/2014/main" id="{E2AFCDA5-0878-BC44-9B7B-84E07F9C04EB}"/>
                </a:ext>
              </a:extLst>
            </p:cNvPr>
            <p:cNvSpPr/>
            <p:nvPr/>
          </p:nvSpPr>
          <p:spPr>
            <a:xfrm>
              <a:off x="892252" y="2433754"/>
              <a:ext cx="5491780" cy="1003517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 dirty="0">
                <a:highlight>
                  <a:srgbClr val="00FF00"/>
                </a:highlight>
              </a:endParaRPr>
            </a:p>
          </p:txBody>
        </p:sp>
        <p:sp>
          <p:nvSpPr>
            <p:cNvPr id="28" name="Abgerundetes Rechteck 27">
              <a:extLst>
                <a:ext uri="{FF2B5EF4-FFF2-40B4-BE49-F238E27FC236}">
                  <a16:creationId xmlns:a16="http://schemas.microsoft.com/office/drawing/2014/main" id="{1EE5274A-97FE-B34A-84F3-D7F93C2ECFC6}"/>
                </a:ext>
              </a:extLst>
            </p:cNvPr>
            <p:cNvSpPr/>
            <p:nvPr/>
          </p:nvSpPr>
          <p:spPr>
            <a:xfrm>
              <a:off x="892252" y="3500880"/>
              <a:ext cx="5491780" cy="1003517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9" name="Abgerundetes Rechteck 28">
              <a:extLst>
                <a:ext uri="{FF2B5EF4-FFF2-40B4-BE49-F238E27FC236}">
                  <a16:creationId xmlns:a16="http://schemas.microsoft.com/office/drawing/2014/main" id="{E3760CE5-3B14-6848-A5A5-75ED4D877334}"/>
                </a:ext>
              </a:extLst>
            </p:cNvPr>
            <p:cNvSpPr/>
            <p:nvPr/>
          </p:nvSpPr>
          <p:spPr>
            <a:xfrm>
              <a:off x="892252" y="4568006"/>
              <a:ext cx="5491780" cy="1003517"/>
            </a:xfrm>
            <a:prstGeom prst="roundRect">
              <a:avLst>
                <a:gd name="adj" fmla="val 7341"/>
              </a:avLst>
            </a:prstGeom>
            <a:noFill/>
            <a:ln w="1905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80F7E64-92DD-C943-AE2F-3181869CBF06}"/>
              </a:ext>
            </a:extLst>
          </p:cNvPr>
          <p:cNvGrpSpPr/>
          <p:nvPr/>
        </p:nvGrpSpPr>
        <p:grpSpPr>
          <a:xfrm>
            <a:off x="4911271" y="2008555"/>
            <a:ext cx="3919412" cy="2011738"/>
            <a:chOff x="6547892" y="2783006"/>
            <a:chExt cx="5225882" cy="2682317"/>
          </a:xfrm>
        </p:grpSpPr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3616DF7E-937F-174C-8493-080C6FB12F4B}"/>
                </a:ext>
              </a:extLst>
            </p:cNvPr>
            <p:cNvSpPr txBox="1"/>
            <p:nvPr/>
          </p:nvSpPr>
          <p:spPr>
            <a:xfrm>
              <a:off x="6547892" y="2783006"/>
              <a:ext cx="5184575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eration / Basic Automation </a:t>
              </a: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A73D8C37-7208-C047-A65B-AA6FC919EA14}"/>
                </a:ext>
              </a:extLst>
            </p:cNvPr>
            <p:cNvSpPr txBox="1"/>
            <p:nvPr/>
          </p:nvSpPr>
          <p:spPr>
            <a:xfrm>
              <a:off x="6568545" y="3877943"/>
              <a:ext cx="5184575" cy="861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am &amp; Result Management</a:t>
              </a:r>
              <a:br>
                <a:rPr lang="en-US" sz="1800" b="1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800" b="1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rchestration</a:t>
              </a: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CD8840BF-0F5B-C142-87C7-75C9A5594BAF}"/>
                </a:ext>
              </a:extLst>
            </p:cNvPr>
            <p:cNvSpPr txBox="1"/>
            <p:nvPr/>
          </p:nvSpPr>
          <p:spPr>
            <a:xfrm>
              <a:off x="6589199" y="4972880"/>
              <a:ext cx="5184575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sset Management</a:t>
              </a:r>
            </a:p>
          </p:txBody>
        </p:sp>
      </p:grp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35C50C4-8E21-713A-A26D-8C1DB131BC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48733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7000">
        <p:fade/>
      </p:transition>
    </mc:Choice>
    <mc:Fallback xmlns="">
      <p:transition spd="med" advTm="107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683568" y="981645"/>
            <a:ext cx="8001000" cy="571500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LADS System Modeling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Devices, Components, Functional Units, Functions, ..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F2F8A305-9764-C948-83AE-FF8788D2343A}"/>
              </a:ext>
            </a:extLst>
          </p:cNvPr>
          <p:cNvGrpSpPr/>
          <p:nvPr/>
        </p:nvGrpSpPr>
        <p:grpSpPr>
          <a:xfrm>
            <a:off x="683568" y="2301720"/>
            <a:ext cx="1434347" cy="1032788"/>
            <a:chOff x="4893323" y="1988840"/>
            <a:chExt cx="1912462" cy="1377050"/>
          </a:xfrm>
        </p:grpSpPr>
        <p:sp>
          <p:nvSpPr>
            <p:cNvPr id="23" name="Abgerundetes Rechteck 22">
              <a:extLst>
                <a:ext uri="{FF2B5EF4-FFF2-40B4-BE49-F238E27FC236}">
                  <a16:creationId xmlns:a16="http://schemas.microsoft.com/office/drawing/2014/main" id="{E6439904-A73C-DB4D-8C7D-EA1EB910395E}"/>
                </a:ext>
              </a:extLst>
            </p:cNvPr>
            <p:cNvSpPr/>
            <p:nvPr/>
          </p:nvSpPr>
          <p:spPr>
            <a:xfrm>
              <a:off x="4893323" y="1988840"/>
              <a:ext cx="1909486" cy="279648"/>
            </a:xfrm>
            <a:prstGeom prst="roundRect">
              <a:avLst>
                <a:gd name="adj" fmla="val 7341"/>
              </a:avLst>
            </a:prstGeom>
            <a:noFill/>
            <a:ln w="1905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13" dirty="0">
                  <a:solidFill>
                    <a:schemeClr val="tx1"/>
                  </a:solidFill>
                </a:rPr>
                <a:t>Device / Comp.</a:t>
              </a:r>
            </a:p>
          </p:txBody>
        </p:sp>
        <p:sp>
          <p:nvSpPr>
            <p:cNvPr id="24" name="Abgerundetes Rechteck 23">
              <a:extLst>
                <a:ext uri="{FF2B5EF4-FFF2-40B4-BE49-F238E27FC236}">
                  <a16:creationId xmlns:a16="http://schemas.microsoft.com/office/drawing/2014/main" id="{68CD3AF1-E3BF-EC4B-BB4E-412718695576}"/>
                </a:ext>
              </a:extLst>
            </p:cNvPr>
            <p:cNvSpPr/>
            <p:nvPr/>
          </p:nvSpPr>
          <p:spPr>
            <a:xfrm>
              <a:off x="4896299" y="2348880"/>
              <a:ext cx="1909486" cy="279648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13" dirty="0">
                  <a:solidFill>
                    <a:schemeClr val="tx1"/>
                  </a:solidFill>
                </a:rPr>
                <a:t>Functional Unit</a:t>
              </a:r>
            </a:p>
          </p:txBody>
        </p:sp>
        <p:sp>
          <p:nvSpPr>
            <p:cNvPr id="25" name="Abgerundetes Rechteck 24">
              <a:extLst>
                <a:ext uri="{FF2B5EF4-FFF2-40B4-BE49-F238E27FC236}">
                  <a16:creationId xmlns:a16="http://schemas.microsoft.com/office/drawing/2014/main" id="{9DB5F6E8-3A16-CD4C-A47B-547795B26CBE}"/>
                </a:ext>
              </a:extLst>
            </p:cNvPr>
            <p:cNvSpPr/>
            <p:nvPr/>
          </p:nvSpPr>
          <p:spPr>
            <a:xfrm>
              <a:off x="4896299" y="2717561"/>
              <a:ext cx="1909486" cy="279648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13" dirty="0">
                  <a:solidFill>
                    <a:schemeClr val="tx1"/>
                  </a:solidFill>
                </a:rPr>
                <a:t>Function</a:t>
              </a:r>
            </a:p>
          </p:txBody>
        </p:sp>
        <p:sp>
          <p:nvSpPr>
            <p:cNvPr id="26" name="Abgerundetes Rechteck 25">
              <a:extLst>
                <a:ext uri="{FF2B5EF4-FFF2-40B4-BE49-F238E27FC236}">
                  <a16:creationId xmlns:a16="http://schemas.microsoft.com/office/drawing/2014/main" id="{0334A013-1B72-1841-8BFB-628B5B01E656}"/>
                </a:ext>
              </a:extLst>
            </p:cNvPr>
            <p:cNvSpPr/>
            <p:nvPr/>
          </p:nvSpPr>
          <p:spPr>
            <a:xfrm>
              <a:off x="4896299" y="3086242"/>
              <a:ext cx="1909486" cy="279648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13" dirty="0">
                  <a:solidFill>
                    <a:schemeClr val="tx1"/>
                  </a:solidFill>
                </a:rPr>
                <a:t>Program Manager</a:t>
              </a:r>
            </a:p>
          </p:txBody>
        </p:sp>
      </p:grpSp>
      <p:sp>
        <p:nvSpPr>
          <p:cNvPr id="64" name="Textfeld 63">
            <a:extLst>
              <a:ext uri="{FF2B5EF4-FFF2-40B4-BE49-F238E27FC236}">
                <a16:creationId xmlns:a16="http://schemas.microsoft.com/office/drawing/2014/main" id="{03504CD0-A3C5-7340-B418-767F1075AA00}"/>
              </a:ext>
            </a:extLst>
          </p:cNvPr>
          <p:cNvSpPr txBox="1"/>
          <p:nvPr/>
        </p:nvSpPr>
        <p:spPr>
          <a:xfrm>
            <a:off x="1223628" y="4548667"/>
            <a:ext cx="14976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Low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E7F53F94-614C-004A-AAAF-1E2D0985D026}"/>
              </a:ext>
            </a:extLst>
          </p:cNvPr>
          <p:cNvSpPr/>
          <p:nvPr/>
        </p:nvSpPr>
        <p:spPr>
          <a:xfrm>
            <a:off x="2603071" y="2185362"/>
            <a:ext cx="5965519" cy="1651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13" dirty="0"/>
              <a:t>A </a:t>
            </a:r>
            <a:r>
              <a:rPr lang="en-US" sz="1013" b="1" dirty="0"/>
              <a:t>Device</a:t>
            </a:r>
            <a:r>
              <a:rPr lang="en-US" sz="1013" dirty="0"/>
              <a:t> is tangible and composed of tangible </a:t>
            </a:r>
            <a:r>
              <a:rPr lang="en-US" sz="1013" b="1" dirty="0"/>
              <a:t>Components</a:t>
            </a:r>
            <a:r>
              <a:rPr lang="en-US" sz="1013" dirty="0"/>
              <a:t>.</a:t>
            </a:r>
          </a:p>
          <a:p>
            <a:endParaRPr lang="en-US" sz="1013" dirty="0"/>
          </a:p>
          <a:p>
            <a:r>
              <a:rPr lang="en-US" sz="1013" dirty="0"/>
              <a:t>A </a:t>
            </a:r>
            <a:r>
              <a:rPr lang="en-US" sz="1013" b="1" dirty="0"/>
              <a:t>Functional Unit </a:t>
            </a:r>
            <a:r>
              <a:rPr lang="en-US" sz="1013" dirty="0"/>
              <a:t>aggregates functions to achieve a specific outcome and is typically utilized by only one user at a time.</a:t>
            </a:r>
          </a:p>
          <a:p>
            <a:endParaRPr lang="en-US" sz="1013" dirty="0"/>
          </a:p>
          <a:p>
            <a:r>
              <a:rPr lang="en-US" sz="1013" b="1" dirty="0"/>
              <a:t>Functions</a:t>
            </a:r>
            <a:r>
              <a:rPr lang="en-US" sz="1013" dirty="0"/>
              <a:t> are organized by a Functional Unit and used to achieve specific outcomes (“do the job”). They might utilize one ore more tangible components.</a:t>
            </a:r>
            <a:br>
              <a:rPr lang="en-US" sz="1013" dirty="0"/>
            </a:br>
            <a:endParaRPr lang="en-US" sz="1013" dirty="0"/>
          </a:p>
          <a:p>
            <a:r>
              <a:rPr lang="en-US" sz="1013" dirty="0"/>
              <a:t>A </a:t>
            </a:r>
            <a:r>
              <a:rPr lang="en-US" sz="1013" b="1" dirty="0"/>
              <a:t>Program</a:t>
            </a:r>
            <a:r>
              <a:rPr lang="en-US" sz="1013" dirty="0"/>
              <a:t> </a:t>
            </a:r>
            <a:r>
              <a:rPr lang="en-US" sz="1013" b="1" dirty="0"/>
              <a:t>Manager</a:t>
            </a:r>
            <a:r>
              <a:rPr lang="en-US" sz="1013" dirty="0"/>
              <a:t> organizes the objects required to manage program templates, run programs and manage their results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74A2E8D-4ABD-48F7-C9E3-52713C40D15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9023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8333">
        <p:fade/>
      </p:transition>
    </mc:Choice>
    <mc:Fallback xmlns="">
      <p:transition spd="med" advTm="98333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644160" y="965945"/>
            <a:ext cx="8001000" cy="743371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LADS System Modeling ..</a:t>
            </a:r>
            <a:br>
              <a:rPr lang="en-US" dirty="0">
                <a:solidFill>
                  <a:srgbClr val="0070C0"/>
                </a:solidFill>
              </a:rPr>
            </a:br>
            <a:endParaRPr lang="en-US" dirty="0">
              <a:solidFill>
                <a:srgbClr val="0070C0"/>
              </a:solidFill>
            </a:endParaRP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138DEF2B-72DD-CD75-A846-774E234F90A4}"/>
              </a:ext>
            </a:extLst>
          </p:cNvPr>
          <p:cNvGrpSpPr>
            <a:grpSpLocks noChangeAspect="1"/>
          </p:cNvGrpSpPr>
          <p:nvPr/>
        </p:nvGrpSpPr>
        <p:grpSpPr>
          <a:xfrm>
            <a:off x="2958289" y="1596725"/>
            <a:ext cx="2772386" cy="2700000"/>
            <a:chOff x="4458424" y="1928550"/>
            <a:chExt cx="4536879" cy="4418422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2E28A7F6-2B55-5E4C-35B9-9DED92AB59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66115" y="2116683"/>
              <a:ext cx="4020970" cy="4183434"/>
            </a:xfrm>
            <a:prstGeom prst="rect">
              <a:avLst/>
            </a:prstGeom>
          </p:spPr>
        </p:pic>
        <p:sp>
          <p:nvSpPr>
            <p:cNvPr id="11" name="Abgerundetes Rechteck 10">
              <a:extLst>
                <a:ext uri="{FF2B5EF4-FFF2-40B4-BE49-F238E27FC236}">
                  <a16:creationId xmlns:a16="http://schemas.microsoft.com/office/drawing/2014/main" id="{822C178E-DBB9-0ED4-FD93-D7B9CBD9E0B2}"/>
                </a:ext>
              </a:extLst>
            </p:cNvPr>
            <p:cNvSpPr/>
            <p:nvPr/>
          </p:nvSpPr>
          <p:spPr>
            <a:xfrm>
              <a:off x="4458424" y="1928550"/>
              <a:ext cx="4536879" cy="4418422"/>
            </a:xfrm>
            <a:prstGeom prst="roundRect">
              <a:avLst>
                <a:gd name="adj" fmla="val 7341"/>
              </a:avLst>
            </a:prstGeom>
            <a:noFill/>
            <a:ln w="1905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rgbClr val="0070C0"/>
                </a:solidFill>
              </a:endParaRPr>
            </a:p>
          </p:txBody>
        </p:sp>
        <p:sp>
          <p:nvSpPr>
            <p:cNvPr id="13" name="Abgerundetes Rechteck 12">
              <a:extLst>
                <a:ext uri="{FF2B5EF4-FFF2-40B4-BE49-F238E27FC236}">
                  <a16:creationId xmlns:a16="http://schemas.microsoft.com/office/drawing/2014/main" id="{5EF96D63-8A6E-DE9E-3D8A-79F6CF9C2E4F}"/>
                </a:ext>
              </a:extLst>
            </p:cNvPr>
            <p:cNvSpPr/>
            <p:nvPr/>
          </p:nvSpPr>
          <p:spPr>
            <a:xfrm>
              <a:off x="6174652" y="2423727"/>
              <a:ext cx="601948" cy="853120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 dirty="0">
                <a:solidFill>
                  <a:schemeClr val="tx1"/>
                </a:solidFill>
              </a:endParaRPr>
            </a:p>
          </p:txBody>
        </p:sp>
        <p:sp>
          <p:nvSpPr>
            <p:cNvPr id="14" name="Abgerundetes Rechteck 13">
              <a:extLst>
                <a:ext uri="{FF2B5EF4-FFF2-40B4-BE49-F238E27FC236}">
                  <a16:creationId xmlns:a16="http://schemas.microsoft.com/office/drawing/2014/main" id="{52C9636D-0DEF-CD83-DE85-7E9BA5E33F88}"/>
                </a:ext>
              </a:extLst>
            </p:cNvPr>
            <p:cNvSpPr/>
            <p:nvPr/>
          </p:nvSpPr>
          <p:spPr>
            <a:xfrm>
              <a:off x="4904392" y="4390913"/>
              <a:ext cx="1005533" cy="1740034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rgbClr val="0070C0"/>
                </a:solidFill>
              </a:endParaRPr>
            </a:p>
          </p:txBody>
        </p:sp>
        <p:sp>
          <p:nvSpPr>
            <p:cNvPr id="15" name="Abgerundetes Rechteck 14">
              <a:extLst>
                <a:ext uri="{FF2B5EF4-FFF2-40B4-BE49-F238E27FC236}">
                  <a16:creationId xmlns:a16="http://schemas.microsoft.com/office/drawing/2014/main" id="{F1C17F66-00F6-DFBB-77F7-35D1B9FD1887}"/>
                </a:ext>
              </a:extLst>
            </p:cNvPr>
            <p:cNvSpPr/>
            <p:nvPr/>
          </p:nvSpPr>
          <p:spPr>
            <a:xfrm>
              <a:off x="7694112" y="4394211"/>
              <a:ext cx="1005533" cy="1740034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rgbClr val="0070C0"/>
                </a:solidFill>
              </a:endParaRPr>
            </a:p>
          </p:txBody>
        </p:sp>
        <p:sp>
          <p:nvSpPr>
            <p:cNvPr id="16" name="Abgerundetes Rechteck 15">
              <a:extLst>
                <a:ext uri="{FF2B5EF4-FFF2-40B4-BE49-F238E27FC236}">
                  <a16:creationId xmlns:a16="http://schemas.microsoft.com/office/drawing/2014/main" id="{D8B06BF8-B6CD-DFD6-5DBD-CB3E92022244}"/>
                </a:ext>
              </a:extLst>
            </p:cNvPr>
            <p:cNvSpPr/>
            <p:nvPr/>
          </p:nvSpPr>
          <p:spPr>
            <a:xfrm>
              <a:off x="5208546" y="3311355"/>
              <a:ext cx="397224" cy="1023298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rgbClr val="0070C0"/>
                </a:solidFill>
              </a:endParaRPr>
            </a:p>
          </p:txBody>
        </p:sp>
        <p:sp>
          <p:nvSpPr>
            <p:cNvPr id="17" name="Abgerundetes Rechteck 16">
              <a:extLst>
                <a:ext uri="{FF2B5EF4-FFF2-40B4-BE49-F238E27FC236}">
                  <a16:creationId xmlns:a16="http://schemas.microsoft.com/office/drawing/2014/main" id="{E1610154-FC23-638B-56EF-9D1D4A23F0F4}"/>
                </a:ext>
              </a:extLst>
            </p:cNvPr>
            <p:cNvSpPr/>
            <p:nvPr/>
          </p:nvSpPr>
          <p:spPr>
            <a:xfrm>
              <a:off x="7997890" y="3276846"/>
              <a:ext cx="397224" cy="1023298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rgbClr val="0070C0"/>
                </a:solidFill>
              </a:endParaRPr>
            </a:p>
          </p:txBody>
        </p:sp>
        <p:sp>
          <p:nvSpPr>
            <p:cNvPr id="18" name="Abgerundetes Rechteck 17">
              <a:extLst>
                <a:ext uri="{FF2B5EF4-FFF2-40B4-BE49-F238E27FC236}">
                  <a16:creationId xmlns:a16="http://schemas.microsoft.com/office/drawing/2014/main" id="{1000D488-80BD-98D8-228B-02BE413ACD92}"/>
                </a:ext>
              </a:extLst>
            </p:cNvPr>
            <p:cNvSpPr/>
            <p:nvPr/>
          </p:nvSpPr>
          <p:spPr>
            <a:xfrm>
              <a:off x="8360776" y="3898698"/>
              <a:ext cx="186738" cy="1561609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rgbClr val="0070C0"/>
                </a:solidFill>
              </a:endParaRPr>
            </a:p>
          </p:txBody>
        </p:sp>
        <p:sp>
          <p:nvSpPr>
            <p:cNvPr id="19" name="Abgerundetes Rechteck 18">
              <a:extLst>
                <a:ext uri="{FF2B5EF4-FFF2-40B4-BE49-F238E27FC236}">
                  <a16:creationId xmlns:a16="http://schemas.microsoft.com/office/drawing/2014/main" id="{26B20CA5-2EBF-1D19-4A6D-43E8B93DE0D4}"/>
                </a:ext>
              </a:extLst>
            </p:cNvPr>
            <p:cNvSpPr/>
            <p:nvPr/>
          </p:nvSpPr>
          <p:spPr>
            <a:xfrm>
              <a:off x="6134208" y="5440429"/>
              <a:ext cx="682263" cy="330478"/>
            </a:xfrm>
            <a:prstGeom prst="roundRect">
              <a:avLst>
                <a:gd name="adj" fmla="val 0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rgbClr val="0070C0"/>
                </a:solidFill>
              </a:endParaRPr>
            </a:p>
          </p:txBody>
        </p:sp>
        <p:sp>
          <p:nvSpPr>
            <p:cNvPr id="20" name="Abgerundetes Rechteck 19">
              <a:extLst>
                <a:ext uri="{FF2B5EF4-FFF2-40B4-BE49-F238E27FC236}">
                  <a16:creationId xmlns:a16="http://schemas.microsoft.com/office/drawing/2014/main" id="{CA023738-642E-5B14-E69E-A2600BE97ED8}"/>
                </a:ext>
              </a:extLst>
            </p:cNvPr>
            <p:cNvSpPr/>
            <p:nvPr/>
          </p:nvSpPr>
          <p:spPr>
            <a:xfrm>
              <a:off x="6869937" y="5440429"/>
              <a:ext cx="682263" cy="330478"/>
            </a:xfrm>
            <a:prstGeom prst="roundRect">
              <a:avLst>
                <a:gd name="adj" fmla="val 0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rgbClr val="0070C0"/>
                </a:solidFill>
              </a:endParaRPr>
            </a:p>
          </p:txBody>
        </p:sp>
        <p:sp>
          <p:nvSpPr>
            <p:cNvPr id="21" name="Abgerundetes Rechteck 20">
              <a:extLst>
                <a:ext uri="{FF2B5EF4-FFF2-40B4-BE49-F238E27FC236}">
                  <a16:creationId xmlns:a16="http://schemas.microsoft.com/office/drawing/2014/main" id="{173989DC-F977-9BD2-9B58-9FB5CAE91463}"/>
                </a:ext>
              </a:extLst>
            </p:cNvPr>
            <p:cNvSpPr/>
            <p:nvPr/>
          </p:nvSpPr>
          <p:spPr>
            <a:xfrm>
              <a:off x="6272811" y="4632107"/>
              <a:ext cx="359773" cy="330478"/>
            </a:xfrm>
            <a:prstGeom prst="roundRect">
              <a:avLst>
                <a:gd name="adj" fmla="val 0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rgbClr val="0070C0"/>
                </a:solidFill>
              </a:endParaRPr>
            </a:p>
          </p:txBody>
        </p:sp>
        <p:sp>
          <p:nvSpPr>
            <p:cNvPr id="22" name="Abgerundetes Rechteck 21">
              <a:extLst>
                <a:ext uri="{FF2B5EF4-FFF2-40B4-BE49-F238E27FC236}">
                  <a16:creationId xmlns:a16="http://schemas.microsoft.com/office/drawing/2014/main" id="{0295C5DE-64A6-65E3-1610-4A454ECD5F3D}"/>
                </a:ext>
              </a:extLst>
            </p:cNvPr>
            <p:cNvSpPr/>
            <p:nvPr/>
          </p:nvSpPr>
          <p:spPr>
            <a:xfrm>
              <a:off x="7031181" y="4632107"/>
              <a:ext cx="359773" cy="330478"/>
            </a:xfrm>
            <a:prstGeom prst="roundRect">
              <a:avLst>
                <a:gd name="adj" fmla="val 0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rgbClr val="0070C0"/>
                </a:solidFill>
              </a:endParaRPr>
            </a:p>
          </p:txBody>
        </p:sp>
        <p:sp>
          <p:nvSpPr>
            <p:cNvPr id="27" name="Abgerundetes Rechteck 26">
              <a:extLst>
                <a:ext uri="{FF2B5EF4-FFF2-40B4-BE49-F238E27FC236}">
                  <a16:creationId xmlns:a16="http://schemas.microsoft.com/office/drawing/2014/main" id="{7D1D5B8D-0C4D-967C-7C76-EC0091F718C1}"/>
                </a:ext>
              </a:extLst>
            </p:cNvPr>
            <p:cNvSpPr/>
            <p:nvPr/>
          </p:nvSpPr>
          <p:spPr>
            <a:xfrm>
              <a:off x="6262170" y="4154263"/>
              <a:ext cx="359773" cy="330478"/>
            </a:xfrm>
            <a:prstGeom prst="roundRect">
              <a:avLst>
                <a:gd name="adj" fmla="val 0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rgbClr val="0070C0"/>
                </a:solidFill>
              </a:endParaRPr>
            </a:p>
          </p:txBody>
        </p:sp>
        <p:sp>
          <p:nvSpPr>
            <p:cNvPr id="28" name="Abgerundetes Rechteck 27">
              <a:extLst>
                <a:ext uri="{FF2B5EF4-FFF2-40B4-BE49-F238E27FC236}">
                  <a16:creationId xmlns:a16="http://schemas.microsoft.com/office/drawing/2014/main" id="{94374A47-618F-B181-7FA5-CF7C16D63B34}"/>
                </a:ext>
              </a:extLst>
            </p:cNvPr>
            <p:cNvSpPr/>
            <p:nvPr/>
          </p:nvSpPr>
          <p:spPr>
            <a:xfrm>
              <a:off x="7042311" y="4141687"/>
              <a:ext cx="359773" cy="330478"/>
            </a:xfrm>
            <a:prstGeom prst="roundRect">
              <a:avLst>
                <a:gd name="adj" fmla="val 0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rgbClr val="0070C0"/>
                </a:solidFill>
              </a:endParaRPr>
            </a:p>
          </p:txBody>
        </p:sp>
        <p:sp>
          <p:nvSpPr>
            <p:cNvPr id="29" name="Abgerundetes Rechteck 28">
              <a:extLst>
                <a:ext uri="{FF2B5EF4-FFF2-40B4-BE49-F238E27FC236}">
                  <a16:creationId xmlns:a16="http://schemas.microsoft.com/office/drawing/2014/main" id="{0856BC3A-4FFD-FA23-6F08-A93300DA3A88}"/>
                </a:ext>
              </a:extLst>
            </p:cNvPr>
            <p:cNvSpPr/>
            <p:nvPr/>
          </p:nvSpPr>
          <p:spPr>
            <a:xfrm>
              <a:off x="6268627" y="3729718"/>
              <a:ext cx="359773" cy="330478"/>
            </a:xfrm>
            <a:prstGeom prst="roundRect">
              <a:avLst>
                <a:gd name="adj" fmla="val 0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rgbClr val="0070C0"/>
                </a:solidFill>
              </a:endParaRPr>
            </a:p>
          </p:txBody>
        </p:sp>
        <p:sp>
          <p:nvSpPr>
            <p:cNvPr id="30" name="Abgerundetes Rechteck 29">
              <a:extLst>
                <a:ext uri="{FF2B5EF4-FFF2-40B4-BE49-F238E27FC236}">
                  <a16:creationId xmlns:a16="http://schemas.microsoft.com/office/drawing/2014/main" id="{FEEA8BE6-0C40-9E23-E16F-A98D6ED1A7A5}"/>
                </a:ext>
              </a:extLst>
            </p:cNvPr>
            <p:cNvSpPr/>
            <p:nvPr/>
          </p:nvSpPr>
          <p:spPr>
            <a:xfrm>
              <a:off x="7042310" y="3729718"/>
              <a:ext cx="359773" cy="330478"/>
            </a:xfrm>
            <a:prstGeom prst="roundRect">
              <a:avLst>
                <a:gd name="adj" fmla="val 0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rgbClr val="0070C0"/>
                </a:solidFill>
              </a:endParaRPr>
            </a:p>
          </p:txBody>
        </p:sp>
        <p:sp>
          <p:nvSpPr>
            <p:cNvPr id="31" name="Abgerundetes Rechteck 30">
              <a:extLst>
                <a:ext uri="{FF2B5EF4-FFF2-40B4-BE49-F238E27FC236}">
                  <a16:creationId xmlns:a16="http://schemas.microsoft.com/office/drawing/2014/main" id="{B8C5965D-D84C-6149-7340-6B88C58178AA}"/>
                </a:ext>
              </a:extLst>
            </p:cNvPr>
            <p:cNvSpPr/>
            <p:nvPr/>
          </p:nvSpPr>
          <p:spPr>
            <a:xfrm>
              <a:off x="6897967" y="2423726"/>
              <a:ext cx="601947" cy="853120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 dirty="0">
                <a:solidFill>
                  <a:schemeClr val="tx1"/>
                </a:solidFill>
              </a:endParaRPr>
            </a:p>
          </p:txBody>
        </p:sp>
        <p:sp>
          <p:nvSpPr>
            <p:cNvPr id="33" name="Abgerundetes Rechteck 32">
              <a:extLst>
                <a:ext uri="{FF2B5EF4-FFF2-40B4-BE49-F238E27FC236}">
                  <a16:creationId xmlns:a16="http://schemas.microsoft.com/office/drawing/2014/main" id="{F81D7110-8D07-E38C-E422-4B13924D3F1C}"/>
                </a:ext>
              </a:extLst>
            </p:cNvPr>
            <p:cNvSpPr/>
            <p:nvPr/>
          </p:nvSpPr>
          <p:spPr>
            <a:xfrm>
              <a:off x="4616360" y="2069829"/>
              <a:ext cx="2206603" cy="4133126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chemeClr val="tx1"/>
                </a:solidFill>
              </a:endParaRPr>
            </a:p>
          </p:txBody>
        </p:sp>
        <p:sp>
          <p:nvSpPr>
            <p:cNvPr id="34" name="Abgerundetes Rechteck 33">
              <a:extLst>
                <a:ext uri="{FF2B5EF4-FFF2-40B4-BE49-F238E27FC236}">
                  <a16:creationId xmlns:a16="http://schemas.microsoft.com/office/drawing/2014/main" id="{67817C6D-8667-FFF6-9267-D5DDC65BBC6F}"/>
                </a:ext>
              </a:extLst>
            </p:cNvPr>
            <p:cNvSpPr/>
            <p:nvPr/>
          </p:nvSpPr>
          <p:spPr>
            <a:xfrm>
              <a:off x="6816472" y="2069828"/>
              <a:ext cx="2063680" cy="4133126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D1EB6F35-3E45-3B4F-D0BA-EDC18D1AFE9E}"/>
              </a:ext>
            </a:extLst>
          </p:cNvPr>
          <p:cNvGrpSpPr>
            <a:grpSpLocks noChangeAspect="1"/>
          </p:cNvGrpSpPr>
          <p:nvPr/>
        </p:nvGrpSpPr>
        <p:grpSpPr>
          <a:xfrm>
            <a:off x="589919" y="1977685"/>
            <a:ext cx="1894206" cy="2462198"/>
            <a:chOff x="767408" y="1988840"/>
            <a:chExt cx="3460158" cy="4497711"/>
          </a:xfrm>
        </p:grpSpPr>
        <p:sp>
          <p:nvSpPr>
            <p:cNvPr id="64" name="Textfeld 63">
              <a:extLst>
                <a:ext uri="{FF2B5EF4-FFF2-40B4-BE49-F238E27FC236}">
                  <a16:creationId xmlns:a16="http://schemas.microsoft.com/office/drawing/2014/main" id="{03504CD0-A3C5-7340-B418-767F1075AA00}"/>
                </a:ext>
              </a:extLst>
            </p:cNvPr>
            <p:cNvSpPr txBox="1"/>
            <p:nvPr/>
          </p:nvSpPr>
          <p:spPr>
            <a:xfrm>
              <a:off x="1631504" y="6064889"/>
              <a:ext cx="1996869" cy="421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</a:rPr>
                <a:t>Low</a:t>
              </a:r>
            </a:p>
          </p:txBody>
        </p:sp>
        <p:pic>
          <p:nvPicPr>
            <p:cNvPr id="2" name="Picture 2">
              <a:extLst>
                <a:ext uri="{FF2B5EF4-FFF2-40B4-BE49-F238E27FC236}">
                  <a16:creationId xmlns:a16="http://schemas.microsoft.com/office/drawing/2014/main" id="{17825785-ADB5-DE20-748D-1DC0420A6A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alphaModFix amt="85000"/>
            </a:blip>
            <a:srcRect/>
            <a:stretch/>
          </p:blipFill>
          <p:spPr bwMode="auto">
            <a:xfrm>
              <a:off x="940935" y="2559353"/>
              <a:ext cx="3059437" cy="35110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Abgerundetes Rechteck 2">
              <a:extLst>
                <a:ext uri="{FF2B5EF4-FFF2-40B4-BE49-F238E27FC236}">
                  <a16:creationId xmlns:a16="http://schemas.microsoft.com/office/drawing/2014/main" id="{0D978151-D9AC-4369-4C1A-5644BFF28202}"/>
                </a:ext>
              </a:extLst>
            </p:cNvPr>
            <p:cNvSpPr/>
            <p:nvPr/>
          </p:nvSpPr>
          <p:spPr>
            <a:xfrm>
              <a:off x="767408" y="1988840"/>
              <a:ext cx="3460158" cy="4248472"/>
            </a:xfrm>
            <a:prstGeom prst="roundRect">
              <a:avLst>
                <a:gd name="adj" fmla="val 7341"/>
              </a:avLst>
            </a:prstGeom>
            <a:noFill/>
            <a:ln w="1905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rgbClr val="0070C0"/>
                </a:solidFill>
              </a:endParaRPr>
            </a:p>
          </p:txBody>
        </p:sp>
        <p:sp>
          <p:nvSpPr>
            <p:cNvPr id="4" name="Abgerundetes Rechteck 3">
              <a:extLst>
                <a:ext uri="{FF2B5EF4-FFF2-40B4-BE49-F238E27FC236}">
                  <a16:creationId xmlns:a16="http://schemas.microsoft.com/office/drawing/2014/main" id="{7EC7537B-B358-274C-F3DC-F03D24E4427E}"/>
                </a:ext>
              </a:extLst>
            </p:cNvPr>
            <p:cNvSpPr/>
            <p:nvPr/>
          </p:nvSpPr>
          <p:spPr>
            <a:xfrm>
              <a:off x="995955" y="3501008"/>
              <a:ext cx="2927185" cy="381709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2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6" name="Abgerundetes Rechteck 5">
              <a:extLst>
                <a:ext uri="{FF2B5EF4-FFF2-40B4-BE49-F238E27FC236}">
                  <a16:creationId xmlns:a16="http://schemas.microsoft.com/office/drawing/2014/main" id="{AE6C2B16-8EAC-555C-CBE7-84D3A27AD3BA}"/>
                </a:ext>
              </a:extLst>
            </p:cNvPr>
            <p:cNvSpPr/>
            <p:nvPr/>
          </p:nvSpPr>
          <p:spPr>
            <a:xfrm>
              <a:off x="971049" y="4598126"/>
              <a:ext cx="2927185" cy="381709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2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7" name="Abgerundetes Rechteck 6">
              <a:extLst>
                <a:ext uri="{FF2B5EF4-FFF2-40B4-BE49-F238E27FC236}">
                  <a16:creationId xmlns:a16="http://schemas.microsoft.com/office/drawing/2014/main" id="{BD1F9BA5-B00C-A974-860C-0A7EA979A70D}"/>
                </a:ext>
              </a:extLst>
            </p:cNvPr>
            <p:cNvSpPr/>
            <p:nvPr/>
          </p:nvSpPr>
          <p:spPr>
            <a:xfrm>
              <a:off x="995579" y="5557485"/>
              <a:ext cx="2927185" cy="381709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2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8" name="Abgerundetes Rechteck 7">
              <a:extLst>
                <a:ext uri="{FF2B5EF4-FFF2-40B4-BE49-F238E27FC236}">
                  <a16:creationId xmlns:a16="http://schemas.microsoft.com/office/drawing/2014/main" id="{51CAB806-EEE6-0361-C7DD-8578D1539E40}"/>
                </a:ext>
              </a:extLst>
            </p:cNvPr>
            <p:cNvSpPr/>
            <p:nvPr/>
          </p:nvSpPr>
          <p:spPr>
            <a:xfrm>
              <a:off x="995579" y="5078598"/>
              <a:ext cx="2927185" cy="381709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2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9" name="Abgerundetes Rechteck 8">
              <a:extLst>
                <a:ext uri="{FF2B5EF4-FFF2-40B4-BE49-F238E27FC236}">
                  <a16:creationId xmlns:a16="http://schemas.microsoft.com/office/drawing/2014/main" id="{DE618738-9A2C-11A2-EDE7-591AF48A8E45}"/>
                </a:ext>
              </a:extLst>
            </p:cNvPr>
            <p:cNvSpPr/>
            <p:nvPr/>
          </p:nvSpPr>
          <p:spPr>
            <a:xfrm>
              <a:off x="2565884" y="5081588"/>
              <a:ext cx="1341761" cy="413049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 dirty="0">
                <a:solidFill>
                  <a:schemeClr val="tx1"/>
                </a:solidFill>
              </a:endParaRPr>
            </a:p>
          </p:txBody>
        </p:sp>
        <p:sp>
          <p:nvSpPr>
            <p:cNvPr id="36" name="Abgerundetes Rechteck 35">
              <a:extLst>
                <a:ext uri="{FF2B5EF4-FFF2-40B4-BE49-F238E27FC236}">
                  <a16:creationId xmlns:a16="http://schemas.microsoft.com/office/drawing/2014/main" id="{43B1E5F1-5D16-7293-E404-D3208C284CFC}"/>
                </a:ext>
              </a:extLst>
            </p:cNvPr>
            <p:cNvSpPr/>
            <p:nvPr/>
          </p:nvSpPr>
          <p:spPr>
            <a:xfrm>
              <a:off x="885568" y="2104186"/>
              <a:ext cx="3269698" cy="3960703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13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DCEB1EC7-EE5F-DD73-29A9-61CC8A70848E}"/>
              </a:ext>
            </a:extLst>
          </p:cNvPr>
          <p:cNvGrpSpPr>
            <a:grpSpLocks noChangeAspect="1"/>
          </p:cNvGrpSpPr>
          <p:nvPr/>
        </p:nvGrpSpPr>
        <p:grpSpPr>
          <a:xfrm>
            <a:off x="6196303" y="1609726"/>
            <a:ext cx="2722646" cy="2700000"/>
            <a:chOff x="4154526" y="2234213"/>
            <a:chExt cx="3528392" cy="3499043"/>
          </a:xfrm>
        </p:grpSpPr>
        <p:pic>
          <p:nvPicPr>
            <p:cNvPr id="44" name="Picture 2">
              <a:extLst>
                <a:ext uri="{FF2B5EF4-FFF2-40B4-BE49-F238E27FC236}">
                  <a16:creationId xmlns:a16="http://schemas.microsoft.com/office/drawing/2014/main" id="{DAA0B5E8-E3B5-E49A-25DD-A1EA0C6656E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hq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>
                          <a14:foregroundMark x1="20688" y1="33063" x2="20500" y2="18500"/>
                          <a14:foregroundMark x1="20500" y1="18500" x2="24813" y2="13063"/>
                          <a14:foregroundMark x1="24813" y1="13063" x2="29438" y2="18688"/>
                          <a14:foregroundMark x1="29438" y1="18688" x2="33813" y2="12875"/>
                          <a14:foregroundMark x1="33813" y1="12875" x2="39688" y2="16750"/>
                          <a14:foregroundMark x1="39688" y1="16750" x2="39875" y2="33000"/>
                          <a14:foregroundMark x1="39875" y1="33000" x2="20125" y2="3337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11147" t="12345" r="12309" b="11111"/>
            <a:stretch/>
          </p:blipFill>
          <p:spPr bwMode="auto">
            <a:xfrm>
              <a:off x="4399352" y="2348880"/>
              <a:ext cx="3110748" cy="3110748"/>
            </a:xfrm>
            <a:prstGeom prst="rect">
              <a:avLst/>
            </a:prstGeom>
            <a:noFill/>
            <a:ln w="19050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5" name="Abgerundetes Rechteck 44">
              <a:extLst>
                <a:ext uri="{FF2B5EF4-FFF2-40B4-BE49-F238E27FC236}">
                  <a16:creationId xmlns:a16="http://schemas.microsoft.com/office/drawing/2014/main" id="{17F3C8FE-DA1B-5D71-3774-53125E17AF5E}"/>
                </a:ext>
              </a:extLst>
            </p:cNvPr>
            <p:cNvSpPr/>
            <p:nvPr/>
          </p:nvSpPr>
          <p:spPr>
            <a:xfrm>
              <a:off x="4154526" y="2234213"/>
              <a:ext cx="3528392" cy="3499043"/>
            </a:xfrm>
            <a:prstGeom prst="roundRect">
              <a:avLst>
                <a:gd name="adj" fmla="val 7341"/>
              </a:avLst>
            </a:prstGeom>
            <a:noFill/>
            <a:ln w="1905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46" name="Abgerundetes Rechteck 45">
              <a:extLst>
                <a:ext uri="{FF2B5EF4-FFF2-40B4-BE49-F238E27FC236}">
                  <a16:creationId xmlns:a16="http://schemas.microsoft.com/office/drawing/2014/main" id="{D0214FF1-52BC-CF4B-085E-45B575E2F2D8}"/>
                </a:ext>
              </a:extLst>
            </p:cNvPr>
            <p:cNvSpPr/>
            <p:nvPr/>
          </p:nvSpPr>
          <p:spPr>
            <a:xfrm>
              <a:off x="4248336" y="2348880"/>
              <a:ext cx="3362574" cy="3312368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47" name="Abgerundetes Rechteck 46">
              <a:extLst>
                <a:ext uri="{FF2B5EF4-FFF2-40B4-BE49-F238E27FC236}">
                  <a16:creationId xmlns:a16="http://schemas.microsoft.com/office/drawing/2014/main" id="{2314A65F-4E33-2673-2F50-71F1C07F45B6}"/>
                </a:ext>
              </a:extLst>
            </p:cNvPr>
            <p:cNvSpPr/>
            <p:nvPr/>
          </p:nvSpPr>
          <p:spPr>
            <a:xfrm>
              <a:off x="4426164" y="4883408"/>
              <a:ext cx="1523246" cy="576220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48" name="Abgerundetes Rechteck 47">
              <a:extLst>
                <a:ext uri="{FF2B5EF4-FFF2-40B4-BE49-F238E27FC236}">
                  <a16:creationId xmlns:a16="http://schemas.microsoft.com/office/drawing/2014/main" id="{645EDB64-384C-FA40-6380-9E2FF0DBC9A6}"/>
                </a:ext>
              </a:extLst>
            </p:cNvPr>
            <p:cNvSpPr/>
            <p:nvPr/>
          </p:nvSpPr>
          <p:spPr>
            <a:xfrm>
              <a:off x="4661072" y="2406840"/>
              <a:ext cx="1074888" cy="654219"/>
            </a:xfrm>
            <a:prstGeom prst="roundRect">
              <a:avLst>
                <a:gd name="adj" fmla="val 7341"/>
              </a:avLst>
            </a:prstGeom>
            <a:noFill/>
            <a:ln w="1905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49" name="Abgerundetes Rechteck 48">
              <a:extLst>
                <a:ext uri="{FF2B5EF4-FFF2-40B4-BE49-F238E27FC236}">
                  <a16:creationId xmlns:a16="http://schemas.microsoft.com/office/drawing/2014/main" id="{56597A5D-3362-0D84-8948-E451B4AAE43E}"/>
                </a:ext>
              </a:extLst>
            </p:cNvPr>
            <p:cNvSpPr/>
            <p:nvPr/>
          </p:nvSpPr>
          <p:spPr>
            <a:xfrm>
              <a:off x="6020110" y="4143231"/>
              <a:ext cx="1468610" cy="731960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50" name="Abgerundetes Rechteck 49">
              <a:extLst>
                <a:ext uri="{FF2B5EF4-FFF2-40B4-BE49-F238E27FC236}">
                  <a16:creationId xmlns:a16="http://schemas.microsoft.com/office/drawing/2014/main" id="{72F55371-0399-F207-0515-8D30CC7F89DE}"/>
                </a:ext>
              </a:extLst>
            </p:cNvPr>
            <p:cNvSpPr/>
            <p:nvPr/>
          </p:nvSpPr>
          <p:spPr>
            <a:xfrm>
              <a:off x="4431480" y="3068960"/>
              <a:ext cx="1523246" cy="720080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51" name="Abgerundetes Rechteck 50">
              <a:extLst>
                <a:ext uri="{FF2B5EF4-FFF2-40B4-BE49-F238E27FC236}">
                  <a16:creationId xmlns:a16="http://schemas.microsoft.com/office/drawing/2014/main" id="{FCB3AE6D-60F8-9E1D-2073-1A1EDE8C06AB}"/>
                </a:ext>
              </a:extLst>
            </p:cNvPr>
            <p:cNvSpPr/>
            <p:nvPr/>
          </p:nvSpPr>
          <p:spPr>
            <a:xfrm>
              <a:off x="4431480" y="3789040"/>
              <a:ext cx="1523246" cy="720080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52" name="Abgerundetes Rechteck 51">
              <a:extLst>
                <a:ext uri="{FF2B5EF4-FFF2-40B4-BE49-F238E27FC236}">
                  <a16:creationId xmlns:a16="http://schemas.microsoft.com/office/drawing/2014/main" id="{35FB1BAB-17F4-A7CC-2118-48CB45056C67}"/>
                </a:ext>
              </a:extLst>
            </p:cNvPr>
            <p:cNvSpPr/>
            <p:nvPr/>
          </p:nvSpPr>
          <p:spPr>
            <a:xfrm>
              <a:off x="4428822" y="4482350"/>
              <a:ext cx="1520588" cy="416898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</p:grpSp>
      <p:sp>
        <p:nvSpPr>
          <p:cNvPr id="74" name="Textfeld 73">
            <a:extLst>
              <a:ext uri="{FF2B5EF4-FFF2-40B4-BE49-F238E27FC236}">
                <a16:creationId xmlns:a16="http://schemas.microsoft.com/office/drawing/2014/main" id="{6565E73B-DA2F-4D5C-8060-2C35828D5EC2}"/>
              </a:ext>
            </a:extLst>
          </p:cNvPr>
          <p:cNvSpPr txBox="1"/>
          <p:nvPr/>
        </p:nvSpPr>
        <p:spPr>
          <a:xfrm rot="16200000">
            <a:off x="6983249" y="2794522"/>
            <a:ext cx="41044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50" dirty="0">
                <a:solidFill>
                  <a:schemeClr val="bg1">
                    <a:lumMod val="65000"/>
                  </a:schemeClr>
                </a:solidFill>
              </a:rPr>
              <a:t>Images Copyright, Eppendorf SE, Agilent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5502BF10-9135-AC34-78F0-A03E1CBE42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360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8333">
        <p:fade/>
      </p:transition>
    </mc:Choice>
    <mc:Fallback xmlns="">
      <p:transition spd="med" advTm="98333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9AD8415-6F9B-4385-2E2B-90E94119F9E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312390" y="941734"/>
            <a:ext cx="6519219" cy="38232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Legende m. Linie (1) (Markierungsleiste) 6">
            <a:extLst>
              <a:ext uri="{FF2B5EF4-FFF2-40B4-BE49-F238E27FC236}">
                <a16:creationId xmlns:a16="http://schemas.microsoft.com/office/drawing/2014/main" id="{278A63E6-3F32-9362-7616-46BBCDC57CEE}"/>
              </a:ext>
            </a:extLst>
          </p:cNvPr>
          <p:cNvSpPr/>
          <p:nvPr/>
        </p:nvSpPr>
        <p:spPr>
          <a:xfrm>
            <a:off x="136187" y="1115438"/>
            <a:ext cx="791183" cy="479898"/>
          </a:xfrm>
          <a:prstGeom prst="accentCallout1">
            <a:avLst>
              <a:gd name="adj1" fmla="val 13344"/>
              <a:gd name="adj2" fmla="val 108880"/>
              <a:gd name="adj3" fmla="val 19257"/>
              <a:gd name="adj4" fmla="val 175601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Functional unit selector</a:t>
            </a:r>
          </a:p>
        </p:txBody>
      </p:sp>
      <p:sp>
        <p:nvSpPr>
          <p:cNvPr id="11" name="Legende m. Linie (1) (Markierungsleiste) 10">
            <a:extLst>
              <a:ext uri="{FF2B5EF4-FFF2-40B4-BE49-F238E27FC236}">
                <a16:creationId xmlns:a16="http://schemas.microsoft.com/office/drawing/2014/main" id="{3E9AB625-889D-B2BA-EFAA-7275479B6CB6}"/>
              </a:ext>
            </a:extLst>
          </p:cNvPr>
          <p:cNvSpPr/>
          <p:nvPr/>
        </p:nvSpPr>
        <p:spPr>
          <a:xfrm>
            <a:off x="32327" y="2091852"/>
            <a:ext cx="895043" cy="605952"/>
          </a:xfrm>
          <a:prstGeom prst="accentCallout1">
            <a:avLst>
              <a:gd name="adj1" fmla="val 13344"/>
              <a:gd name="adj2" fmla="val 108880"/>
              <a:gd name="adj3" fmla="val -70829"/>
              <a:gd name="adj4" fmla="val 284290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Use Case</a:t>
            </a:r>
          </a:p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Specific Tabs</a:t>
            </a:r>
            <a:br>
              <a:rPr lang="en-US" sz="10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(Operation selected)</a:t>
            </a:r>
          </a:p>
        </p:txBody>
      </p:sp>
      <p:sp>
        <p:nvSpPr>
          <p:cNvPr id="13" name="Legende m. Linie (1) (Markierungsleiste) 12">
            <a:extLst>
              <a:ext uri="{FF2B5EF4-FFF2-40B4-BE49-F238E27FC236}">
                <a16:creationId xmlns:a16="http://schemas.microsoft.com/office/drawing/2014/main" id="{D945C36A-A36A-49EF-C3BC-17D6B925BC3F}"/>
              </a:ext>
            </a:extLst>
          </p:cNvPr>
          <p:cNvSpPr/>
          <p:nvPr/>
        </p:nvSpPr>
        <p:spPr>
          <a:xfrm>
            <a:off x="136186" y="4183298"/>
            <a:ext cx="791183" cy="479898"/>
          </a:xfrm>
          <a:prstGeom prst="accentCallout1">
            <a:avLst>
              <a:gd name="adj1" fmla="val 13344"/>
              <a:gd name="adj2" fmla="val 108880"/>
              <a:gd name="adj3" fmla="val 36825"/>
              <a:gd name="adj4" fmla="val 293633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Event List</a:t>
            </a:r>
          </a:p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(Device)</a:t>
            </a:r>
          </a:p>
        </p:txBody>
      </p:sp>
      <p:sp>
        <p:nvSpPr>
          <p:cNvPr id="14" name="Legende m. Linie (1) (Markierungsleiste) 13">
            <a:extLst>
              <a:ext uri="{FF2B5EF4-FFF2-40B4-BE49-F238E27FC236}">
                <a16:creationId xmlns:a16="http://schemas.microsoft.com/office/drawing/2014/main" id="{5B89BF3D-916E-D73A-0078-6F5271A2C264}"/>
              </a:ext>
            </a:extLst>
          </p:cNvPr>
          <p:cNvSpPr/>
          <p:nvPr/>
        </p:nvSpPr>
        <p:spPr>
          <a:xfrm>
            <a:off x="7990751" y="1115438"/>
            <a:ext cx="846306" cy="479898"/>
          </a:xfrm>
          <a:prstGeom prst="accentCallout1">
            <a:avLst>
              <a:gd name="adj1" fmla="val 22804"/>
              <a:gd name="adj2" fmla="val 6198"/>
              <a:gd name="adj3" fmla="val 72153"/>
              <a:gd name="adj4" fmla="val -138938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Functional unit control</a:t>
            </a:r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7C547B05-43FF-0530-565C-B091ADF567A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1BA00C5E-983B-DC0B-A4B5-E9C48BCE5B65}"/>
              </a:ext>
            </a:extLst>
          </p:cNvPr>
          <p:cNvSpPr/>
          <p:nvPr/>
        </p:nvSpPr>
        <p:spPr>
          <a:xfrm>
            <a:off x="2484535" y="1531434"/>
            <a:ext cx="5222551" cy="2534380"/>
          </a:xfrm>
          <a:prstGeom prst="roundRect">
            <a:avLst>
              <a:gd name="adj" fmla="val 3099"/>
            </a:avLst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9BA65F2D-EC22-BD7E-E9C4-93D24665F159}"/>
              </a:ext>
            </a:extLst>
          </p:cNvPr>
          <p:cNvSpPr/>
          <p:nvPr/>
        </p:nvSpPr>
        <p:spPr>
          <a:xfrm>
            <a:off x="2500864" y="4164248"/>
            <a:ext cx="5206221" cy="600727"/>
          </a:xfrm>
          <a:prstGeom prst="roundRect">
            <a:avLst>
              <a:gd name="adj" fmla="val 7176"/>
            </a:avLst>
          </a:prstGeom>
          <a:noFill/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0" name="Abgerundetes Rechteck 19">
            <a:extLst>
              <a:ext uri="{FF2B5EF4-FFF2-40B4-BE49-F238E27FC236}">
                <a16:creationId xmlns:a16="http://schemas.microsoft.com/office/drawing/2014/main" id="{0BB42D9A-70A6-7E28-23CD-F8E26825EF34}"/>
              </a:ext>
            </a:extLst>
          </p:cNvPr>
          <p:cNvSpPr/>
          <p:nvPr/>
        </p:nvSpPr>
        <p:spPr>
          <a:xfrm>
            <a:off x="2484535" y="1183821"/>
            <a:ext cx="5206221" cy="347613"/>
          </a:xfrm>
          <a:prstGeom prst="roundRect">
            <a:avLst>
              <a:gd name="adj" fmla="val 10145"/>
            </a:avLst>
          </a:prstGeom>
          <a:noFill/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2379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7233">
        <p:fade/>
      </p:transition>
    </mc:Choice>
    <mc:Fallback xmlns="">
      <p:transition spd="med" advTm="47233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8D878E1D-CF76-8D51-86E0-3673F60323B6}"/>
              </a:ext>
            </a:extLst>
          </p:cNvPr>
          <p:cNvGrpSpPr/>
          <p:nvPr/>
        </p:nvGrpSpPr>
        <p:grpSpPr>
          <a:xfrm>
            <a:off x="1456656" y="1253180"/>
            <a:ext cx="6230687" cy="3608173"/>
            <a:chOff x="1456656" y="1253180"/>
            <a:chExt cx="6230687" cy="3608173"/>
          </a:xfrm>
        </p:grpSpPr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C753DA40-7002-509F-441F-533FD4698E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56656" y="1253180"/>
              <a:ext cx="6230687" cy="360817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9" name="Abgerundetes Rechteck 18">
              <a:extLst>
                <a:ext uri="{FF2B5EF4-FFF2-40B4-BE49-F238E27FC236}">
                  <a16:creationId xmlns:a16="http://schemas.microsoft.com/office/drawing/2014/main" id="{214FBF5A-5910-0833-44FD-6ABF3E53BDA3}"/>
                </a:ext>
              </a:extLst>
            </p:cNvPr>
            <p:cNvSpPr/>
            <p:nvPr/>
          </p:nvSpPr>
          <p:spPr>
            <a:xfrm>
              <a:off x="1512035" y="1469250"/>
              <a:ext cx="2450366" cy="394407"/>
            </a:xfrm>
            <a:prstGeom prst="roundRect">
              <a:avLst>
                <a:gd name="adj" fmla="val 3099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8" name="Abgerundetes Rechteck 7">
              <a:extLst>
                <a:ext uri="{FF2B5EF4-FFF2-40B4-BE49-F238E27FC236}">
                  <a16:creationId xmlns:a16="http://schemas.microsoft.com/office/drawing/2014/main" id="{57AFCA20-D856-3DEE-EB7D-53577A2FC7FB}"/>
                </a:ext>
              </a:extLst>
            </p:cNvPr>
            <p:cNvSpPr/>
            <p:nvPr/>
          </p:nvSpPr>
          <p:spPr>
            <a:xfrm>
              <a:off x="1512035" y="1932569"/>
              <a:ext cx="2450366" cy="449897"/>
            </a:xfrm>
            <a:prstGeom prst="roundRect">
              <a:avLst>
                <a:gd name="adj" fmla="val 3099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9" name="Abgerundetes Rechteck 8">
              <a:extLst>
                <a:ext uri="{FF2B5EF4-FFF2-40B4-BE49-F238E27FC236}">
                  <a16:creationId xmlns:a16="http://schemas.microsoft.com/office/drawing/2014/main" id="{05D9144A-C427-29AD-F547-2FC0E878C96E}"/>
                </a:ext>
              </a:extLst>
            </p:cNvPr>
            <p:cNvSpPr/>
            <p:nvPr/>
          </p:nvSpPr>
          <p:spPr>
            <a:xfrm>
              <a:off x="1512035" y="2395889"/>
              <a:ext cx="2450366" cy="220042"/>
            </a:xfrm>
            <a:prstGeom prst="roundRect">
              <a:avLst>
                <a:gd name="adj" fmla="val 3099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0" name="Abgerundetes Rechteck 9">
              <a:extLst>
                <a:ext uri="{FF2B5EF4-FFF2-40B4-BE49-F238E27FC236}">
                  <a16:creationId xmlns:a16="http://schemas.microsoft.com/office/drawing/2014/main" id="{ABA5F849-EEC0-8DCA-D8EE-391CFD8A4236}"/>
                </a:ext>
              </a:extLst>
            </p:cNvPr>
            <p:cNvSpPr/>
            <p:nvPr/>
          </p:nvSpPr>
          <p:spPr>
            <a:xfrm>
              <a:off x="1512035" y="2859209"/>
              <a:ext cx="2450366" cy="415518"/>
            </a:xfrm>
            <a:prstGeom prst="roundRect">
              <a:avLst>
                <a:gd name="adj" fmla="val 3099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1" name="Abgerundetes Rechteck 10">
              <a:extLst>
                <a:ext uri="{FF2B5EF4-FFF2-40B4-BE49-F238E27FC236}">
                  <a16:creationId xmlns:a16="http://schemas.microsoft.com/office/drawing/2014/main" id="{2DD348B4-273D-5024-A526-4BD970E318CE}"/>
                </a:ext>
              </a:extLst>
            </p:cNvPr>
            <p:cNvSpPr/>
            <p:nvPr/>
          </p:nvSpPr>
          <p:spPr>
            <a:xfrm>
              <a:off x="1512035" y="2653150"/>
              <a:ext cx="2450366" cy="220042"/>
            </a:xfrm>
            <a:prstGeom prst="roundRect">
              <a:avLst>
                <a:gd name="adj" fmla="val 3099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3" name="Abgerundetes Rechteck 12">
              <a:extLst>
                <a:ext uri="{FF2B5EF4-FFF2-40B4-BE49-F238E27FC236}">
                  <a16:creationId xmlns:a16="http://schemas.microsoft.com/office/drawing/2014/main" id="{5582480D-F003-AEF3-90ED-2E577700C2C4}"/>
                </a:ext>
              </a:extLst>
            </p:cNvPr>
            <p:cNvSpPr/>
            <p:nvPr/>
          </p:nvSpPr>
          <p:spPr>
            <a:xfrm>
              <a:off x="1512035" y="3260744"/>
              <a:ext cx="2450366" cy="415518"/>
            </a:xfrm>
            <a:prstGeom prst="roundRect">
              <a:avLst>
                <a:gd name="adj" fmla="val 3099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5" name="Abgerundetes Rechteck 14">
              <a:extLst>
                <a:ext uri="{FF2B5EF4-FFF2-40B4-BE49-F238E27FC236}">
                  <a16:creationId xmlns:a16="http://schemas.microsoft.com/office/drawing/2014/main" id="{88ADD6D6-4725-7F53-FD57-306677C33815}"/>
                </a:ext>
              </a:extLst>
            </p:cNvPr>
            <p:cNvSpPr/>
            <p:nvPr/>
          </p:nvSpPr>
          <p:spPr>
            <a:xfrm>
              <a:off x="1510664" y="3679522"/>
              <a:ext cx="2450366" cy="590110"/>
            </a:xfrm>
            <a:prstGeom prst="roundRect">
              <a:avLst>
                <a:gd name="adj" fmla="val 3099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6" name="Abgerundetes Rechteck 25">
              <a:extLst>
                <a:ext uri="{FF2B5EF4-FFF2-40B4-BE49-F238E27FC236}">
                  <a16:creationId xmlns:a16="http://schemas.microsoft.com/office/drawing/2014/main" id="{030DB123-5436-A957-1855-84C77D7F3FCE}"/>
                </a:ext>
              </a:extLst>
            </p:cNvPr>
            <p:cNvSpPr/>
            <p:nvPr/>
          </p:nvSpPr>
          <p:spPr>
            <a:xfrm>
              <a:off x="1510664" y="4274520"/>
              <a:ext cx="2450366" cy="465333"/>
            </a:xfrm>
            <a:prstGeom prst="roundRect">
              <a:avLst>
                <a:gd name="adj" fmla="val 3099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8" name="Abgerundetes Rechteck 27">
              <a:extLst>
                <a:ext uri="{FF2B5EF4-FFF2-40B4-BE49-F238E27FC236}">
                  <a16:creationId xmlns:a16="http://schemas.microsoft.com/office/drawing/2014/main" id="{7BCF9D28-6A4F-B40F-931B-6ADB642F7355}"/>
                </a:ext>
              </a:extLst>
            </p:cNvPr>
            <p:cNvSpPr/>
            <p:nvPr/>
          </p:nvSpPr>
          <p:spPr>
            <a:xfrm>
              <a:off x="4017779" y="1489212"/>
              <a:ext cx="3614185" cy="1857707"/>
            </a:xfrm>
            <a:prstGeom prst="roundRect">
              <a:avLst>
                <a:gd name="adj" fmla="val 3099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9" name="Abgerundetes Rechteck 28">
              <a:extLst>
                <a:ext uri="{FF2B5EF4-FFF2-40B4-BE49-F238E27FC236}">
                  <a16:creationId xmlns:a16="http://schemas.microsoft.com/office/drawing/2014/main" id="{D267D9F4-FE47-F559-3132-0F77F9EC223E}"/>
                </a:ext>
              </a:extLst>
            </p:cNvPr>
            <p:cNvSpPr/>
            <p:nvPr/>
          </p:nvSpPr>
          <p:spPr>
            <a:xfrm>
              <a:off x="4003972" y="3353811"/>
              <a:ext cx="3614185" cy="1386042"/>
            </a:xfrm>
            <a:prstGeom prst="roundRect">
              <a:avLst>
                <a:gd name="adj" fmla="val 3099"/>
              </a:avLst>
            </a:prstGeom>
            <a:noFill/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</p:grpSp>
      <p:sp>
        <p:nvSpPr>
          <p:cNvPr id="4" name="Titel 1">
            <a:extLst>
              <a:ext uri="{FF2B5EF4-FFF2-40B4-BE49-F238E27FC236}">
                <a16:creationId xmlns:a16="http://schemas.microsoft.com/office/drawing/2014/main" id="{9CA49368-DAB9-AEE2-4319-918068830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358" y="828662"/>
            <a:ext cx="8001000" cy="743371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Use-Case: Operation / Basic Automation</a:t>
            </a:r>
            <a:br>
              <a:rPr lang="en-US" dirty="0">
                <a:solidFill>
                  <a:srgbClr val="0070C0"/>
                </a:solidFill>
              </a:rPr>
            </a:b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27" name="Legende m. Linie (1) (Markierungsleiste) 26">
            <a:extLst>
              <a:ext uri="{FF2B5EF4-FFF2-40B4-BE49-F238E27FC236}">
                <a16:creationId xmlns:a16="http://schemas.microsoft.com/office/drawing/2014/main" id="{BD6F5EEA-E468-072E-F79E-1EE55514718A}"/>
              </a:ext>
            </a:extLst>
          </p:cNvPr>
          <p:cNvSpPr/>
          <p:nvPr/>
        </p:nvSpPr>
        <p:spPr>
          <a:xfrm>
            <a:off x="103247" y="1648042"/>
            <a:ext cx="791183" cy="479898"/>
          </a:xfrm>
          <a:prstGeom prst="accentCallout1">
            <a:avLst>
              <a:gd name="adj1" fmla="val 13344"/>
              <a:gd name="adj2" fmla="val 108880"/>
              <a:gd name="adj3" fmla="val 19257"/>
              <a:gd name="adj4" fmla="val 175601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Function list</a:t>
            </a:r>
          </a:p>
        </p:txBody>
      </p:sp>
      <p:sp>
        <p:nvSpPr>
          <p:cNvPr id="30" name="Legende m. Linie (1) (Markierungsleiste) 29">
            <a:extLst>
              <a:ext uri="{FF2B5EF4-FFF2-40B4-BE49-F238E27FC236}">
                <a16:creationId xmlns:a16="http://schemas.microsoft.com/office/drawing/2014/main" id="{94D2918F-3A21-40CA-385D-B5350D546FAF}"/>
              </a:ext>
            </a:extLst>
          </p:cNvPr>
          <p:cNvSpPr/>
          <p:nvPr/>
        </p:nvSpPr>
        <p:spPr>
          <a:xfrm>
            <a:off x="7854609" y="1902568"/>
            <a:ext cx="846306" cy="479898"/>
          </a:xfrm>
          <a:prstGeom prst="accentCallout1">
            <a:avLst>
              <a:gd name="adj1" fmla="val 22804"/>
              <a:gd name="adj2" fmla="val 6198"/>
              <a:gd name="adj3" fmla="val 128294"/>
              <a:gd name="adj4" fmla="val -118680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Chart view (historizing variables)</a:t>
            </a:r>
          </a:p>
        </p:txBody>
      </p:sp>
      <p:sp>
        <p:nvSpPr>
          <p:cNvPr id="31" name="Legende m. Linie (1) (Markierungsleiste) 30">
            <a:extLst>
              <a:ext uri="{FF2B5EF4-FFF2-40B4-BE49-F238E27FC236}">
                <a16:creationId xmlns:a16="http://schemas.microsoft.com/office/drawing/2014/main" id="{954C048B-9413-5971-25BF-DF37711A6979}"/>
              </a:ext>
            </a:extLst>
          </p:cNvPr>
          <p:cNvSpPr/>
          <p:nvPr/>
        </p:nvSpPr>
        <p:spPr>
          <a:xfrm>
            <a:off x="7854609" y="3310664"/>
            <a:ext cx="846306" cy="479898"/>
          </a:xfrm>
          <a:prstGeom prst="accentCallout1">
            <a:avLst>
              <a:gd name="adj1" fmla="val 22804"/>
              <a:gd name="adj2" fmla="val 6198"/>
              <a:gd name="adj3" fmla="val 119788"/>
              <a:gd name="adj4" fmla="val -141833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Array sensor view</a:t>
            </a:r>
          </a:p>
        </p:txBody>
      </p:sp>
      <p:sp>
        <p:nvSpPr>
          <p:cNvPr id="32" name="Fußzeilenplatzhalter 31">
            <a:extLst>
              <a:ext uri="{FF2B5EF4-FFF2-40B4-BE49-F238E27FC236}">
                <a16:creationId xmlns:a16="http://schemas.microsoft.com/office/drawing/2014/main" id="{D88D9CE3-D06C-B573-CEF8-78CD354579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LADS OPC UA, Dr. Matthias Arnold</a:t>
            </a:r>
            <a:endParaRPr lang="en-US" dirty="0"/>
          </a:p>
        </p:txBody>
      </p:sp>
      <p:sp>
        <p:nvSpPr>
          <p:cNvPr id="2" name="Abgerundetes Rechteck 1">
            <a:extLst>
              <a:ext uri="{FF2B5EF4-FFF2-40B4-BE49-F238E27FC236}">
                <a16:creationId xmlns:a16="http://schemas.microsoft.com/office/drawing/2014/main" id="{8ACAFB04-CF8B-B6F7-B0D7-7A905511345A}"/>
              </a:ext>
            </a:extLst>
          </p:cNvPr>
          <p:cNvSpPr/>
          <p:nvPr/>
        </p:nvSpPr>
        <p:spPr>
          <a:xfrm>
            <a:off x="1456656" y="1253180"/>
            <a:ext cx="6230686" cy="3608172"/>
          </a:xfrm>
          <a:prstGeom prst="roundRect">
            <a:avLst>
              <a:gd name="adj" fmla="val 3700"/>
            </a:avLst>
          </a:prstGeom>
          <a:noFill/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257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7233">
        <p:fade/>
      </p:transition>
    </mc:Choice>
    <mc:Fallback xmlns="">
      <p:transition spd="med" advTm="47233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5|10.1|13.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5|10.1|13.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5|10.1|13.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5|10.1|13.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5|10.1|13.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5|10.1|13.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4.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4.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5|10.1|13.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5|10.1|13.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5|10.1|13.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4.1|40.9|1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5|10.1|13.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5|10.1|13.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5|10.1|13.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5|10.1|13.5"/>
</p:tagLst>
</file>

<file path=ppt/theme/theme1.xml><?xml version="1.0" encoding="utf-8"?>
<a:theme xmlns:a="http://schemas.openxmlformats.org/drawingml/2006/main" name="Office">
  <a:themeElements>
    <a:clrScheme name="Benutzerdefiniert 1">
      <a:dk1>
        <a:srgbClr val="005BA2"/>
      </a:dk1>
      <a:lt1>
        <a:srgbClr val="FFFFFF"/>
      </a:lt1>
      <a:dk2>
        <a:srgbClr val="A2CFE7"/>
      </a:dk2>
      <a:lt2>
        <a:srgbClr val="FEFFFF"/>
      </a:lt2>
      <a:accent1>
        <a:srgbClr val="009EE3"/>
      </a:accent1>
      <a:accent2>
        <a:srgbClr val="A1D9F8"/>
      </a:accent2>
      <a:accent3>
        <a:srgbClr val="656564"/>
      </a:accent3>
      <a:accent4>
        <a:srgbClr val="F3BC00"/>
      </a:accent4>
      <a:accent5>
        <a:srgbClr val="02615E"/>
      </a:accent5>
      <a:accent6>
        <a:srgbClr val="55A393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6" id="{55AEA2C6-53A7-4836-8D39-653C9C4B0FFA}" vid="{80396397-AF10-41BB-8D3A-E38467F523B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2742325-f3b3-48f5-aed2-65513deae5a9">
      <Terms xmlns="http://schemas.microsoft.com/office/infopath/2007/PartnerControls"/>
    </lcf76f155ced4ddcb4097134ff3c332f>
    <TaxCatchAll xmlns="e9a324d7-a1f3-4a6d-a37f-05a5f1fada5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BA7D8A576F582438FF3F6F99DBDE8ED" ma:contentTypeVersion="17" ma:contentTypeDescription="Create a new document." ma:contentTypeScope="" ma:versionID="272d5193e40caee8f4d271e3b51f7818">
  <xsd:schema xmlns:xsd="http://www.w3.org/2001/XMLSchema" xmlns:xs="http://www.w3.org/2001/XMLSchema" xmlns:p="http://schemas.microsoft.com/office/2006/metadata/properties" xmlns:ns2="d2742325-f3b3-48f5-aed2-65513deae5a9" xmlns:ns3="e9a324d7-a1f3-4a6d-a37f-05a5f1fada53" targetNamespace="http://schemas.microsoft.com/office/2006/metadata/properties" ma:root="true" ma:fieldsID="cfca0a9e0bcea6b7aa33e96ac53a3f7f" ns2:_="" ns3:_="">
    <xsd:import namespace="d2742325-f3b3-48f5-aed2-65513deae5a9"/>
    <xsd:import namespace="e9a324d7-a1f3-4a6d-a37f-05a5f1fada5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742325-f3b3-48f5-aed2-65513deae5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0b75c5f6-c624-48f5-9c4c-201ef0d9a56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a324d7-a1f3-4a6d-a37f-05a5f1fada5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18a0bae-87f7-4b09-b991-8631119b0a85}" ma:internalName="TaxCatchAll" ma:showField="CatchAllData" ma:web="e9a324d7-a1f3-4a6d-a37f-05a5f1fada5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CCD95B8-6D83-49D2-A02B-1CA7FFFAB40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5ECB36-1EC8-4B28-95A0-BDC2BF7E541E}">
  <ds:schemaRefs>
    <ds:schemaRef ds:uri="http://schemas.microsoft.com/office/2006/metadata/properties"/>
    <ds:schemaRef ds:uri="http://schemas.microsoft.com/office/infopath/2007/PartnerControls"/>
    <ds:schemaRef ds:uri="d2742325-f3b3-48f5-aed2-65513deae5a9"/>
    <ds:schemaRef ds:uri="e9a324d7-a1f3-4a6d-a37f-05a5f1fada53"/>
  </ds:schemaRefs>
</ds:datastoreItem>
</file>

<file path=customXml/itemProps3.xml><?xml version="1.0" encoding="utf-8"?>
<ds:datastoreItem xmlns:ds="http://schemas.openxmlformats.org/officeDocument/2006/customXml" ds:itemID="{BB53254F-11E1-4C38-AE61-F793E6C441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2742325-f3b3-48f5-aed2-65513deae5a9"/>
    <ds:schemaRef ds:uri="e9a324d7-a1f3-4a6d-a37f-05a5f1fada5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10826 PPT_template_ABL_16-9_engl</Template>
  <TotalTime>0</TotalTime>
  <Words>3888</Words>
  <Application>Microsoft Macintosh PowerPoint</Application>
  <PresentationFormat>Bildschirmpräsentation (16:9)</PresentationFormat>
  <Paragraphs>363</Paragraphs>
  <Slides>24</Slides>
  <Notes>2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35" baseType="lpstr">
      <vt:lpstr>Arial</vt:lpstr>
      <vt:lpstr>Arial Narrow</vt:lpstr>
      <vt:lpstr>Arial Narrow Regular</vt:lpstr>
      <vt:lpstr>Calibri</vt:lpstr>
      <vt:lpstr>Cambria Math</vt:lpstr>
      <vt:lpstr>Lucida Sans</vt:lpstr>
      <vt:lpstr>Segoe UI Emoji</vt:lpstr>
      <vt:lpstr>Söhne</vt:lpstr>
      <vt:lpstr>Wingdings</vt:lpstr>
      <vt:lpstr>Office</vt:lpstr>
      <vt:lpstr>think-cell Slide</vt:lpstr>
      <vt:lpstr>Pythonic LADS OPC UA Client </vt:lpstr>
      <vt:lpstr>LADS OPC UA Client    </vt:lpstr>
      <vt:lpstr>PowerPoint-Präsentation</vt:lpstr>
      <vt:lpstr>Use-Case Centric UI Design </vt:lpstr>
      <vt:lpstr>LADS Use Cases</vt:lpstr>
      <vt:lpstr>LADS System Modeling Devices, Components, Functional Units, Functions, ..</vt:lpstr>
      <vt:lpstr>LADS System Modeling .. </vt:lpstr>
      <vt:lpstr>PowerPoint-Präsentation</vt:lpstr>
      <vt:lpstr>Use-Case: Operation / Basic Automation </vt:lpstr>
      <vt:lpstr>Use-Case: Operation -  LADS Functions </vt:lpstr>
      <vt:lpstr>Use-Case: Program &amp; Result Management / Orchestration </vt:lpstr>
      <vt:lpstr>Use-Case: Program &amp; Result Management (StartProgram()) </vt:lpstr>
      <vt:lpstr>Use-Case: Program &amp; Result Management (Execution Progress) </vt:lpstr>
      <vt:lpstr>Use-Case: Program &amp; Result Management (Results) </vt:lpstr>
      <vt:lpstr>Use-Case: Asset Management (Overview) </vt:lpstr>
      <vt:lpstr>Use-Case: Asset Management (Nameplate) </vt:lpstr>
      <vt:lpstr>Use-Case: Asset Management (Condition Monitoring) </vt:lpstr>
      <vt:lpstr>Pythonic LADS OPC UA Client Call for LADShack community support!</vt:lpstr>
      <vt:lpstr>Pythonic LADS OPC UA Client Known Issues opcua-asyncio</vt:lpstr>
      <vt:lpstr>Pythonic LADS OPC UA Client Known Issues streamlit.io</vt:lpstr>
      <vt:lpstr>Pythonic LADS OPC UA Client Known Issues lads_client / lads_viewer</vt:lpstr>
      <vt:lpstr>LADS - Let's make Plug &amp; Play Interoperability a Reality!</vt:lpstr>
      <vt:lpstr>OPC UA – The Industrial Interoperability Standard</vt:lpstr>
      <vt:lpstr> 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Veranstaltung</dc:title>
  <dc:creator>Janina Bolling [SPECTARIS]</dc:creator>
  <cp:lastModifiedBy>Matthias Arnold</cp:lastModifiedBy>
  <cp:revision>177</cp:revision>
  <cp:lastPrinted>2023-12-14T11:58:23Z</cp:lastPrinted>
  <dcterms:created xsi:type="dcterms:W3CDTF">2023-02-23T16:08:27Z</dcterms:created>
  <dcterms:modified xsi:type="dcterms:W3CDTF">2023-12-15T10:04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BA7D8A576F582438FF3F6F99DBDE8ED</vt:lpwstr>
  </property>
  <property fmtid="{D5CDD505-2E9C-101B-9397-08002B2CF9AE}" pid="3" name="MediaServiceImageTags">
    <vt:lpwstr/>
  </property>
</Properties>
</file>